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60" r:id="rId5"/>
    <p:sldId id="262" r:id="rId6"/>
    <p:sldId id="263" r:id="rId7"/>
    <p:sldId id="264" r:id="rId8"/>
    <p:sldId id="265" r:id="rId9"/>
    <p:sldId id="267" r:id="rId10"/>
    <p:sldId id="270" r:id="rId11"/>
    <p:sldId id="271" r:id="rId12"/>
    <p:sldId id="266" r:id="rId13"/>
    <p:sldId id="268" r:id="rId14"/>
    <p:sldId id="269" r:id="rId15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2" pos="93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A900"/>
    <a:srgbClr val="0D1117"/>
    <a:srgbClr val="FFD700"/>
    <a:srgbClr val="CCC076"/>
    <a:srgbClr val="006D32"/>
    <a:srgbClr val="39D353"/>
    <a:srgbClr val="ECECEC"/>
    <a:srgbClr val="D7D7D7"/>
    <a:srgbClr val="DAD19A"/>
    <a:srgbClr val="E1C9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0734" autoAdjust="0"/>
    <p:restoredTop sz="94660"/>
  </p:normalViewPr>
  <p:slideViewPr>
    <p:cSldViewPr snapToGrid="0" showGuides="1">
      <p:cViewPr>
        <p:scale>
          <a:sx n="52" d="100"/>
          <a:sy n="52" d="100"/>
        </p:scale>
        <p:origin x="432" y="797"/>
      </p:cViewPr>
      <p:guideLst>
        <p:guide orient="horz" pos="210"/>
        <p:guide pos="93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593CF6-E6E0-D983-1AD5-9086053C9E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3782801-6BDA-8BB9-6385-78510AFB40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5F307C-221C-B4D5-2D34-77636F1393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65EC3-7709-4B20-AC3B-422475EFA339}" type="datetimeFigureOut">
              <a:rPr lang="de-DE" smtClean="0"/>
              <a:t>09.12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A93609-4D6C-7229-788B-62895CE5F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78FDBC-17D5-9B23-BAE7-C3983EE5B0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05207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6CD64E-0A87-4465-B17A-9841D8EA3F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6374F7-04CA-E2DD-D8E2-0ED3082BDF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3B16A1-AE11-E2CB-F600-92E43D5BD4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65EC3-7709-4B20-AC3B-422475EFA339}" type="datetimeFigureOut">
              <a:rPr lang="de-DE" smtClean="0"/>
              <a:t>09.12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7404CD-7354-D09D-221E-7555A1B096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E6D6E0-2BC5-79CD-6D89-7581AC0432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54671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F0FAF51-3FA6-8018-5DE3-7E24557D621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355C621-3535-F362-5567-9E6CC04E28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26AFC6-8303-5361-127E-FA0C1EDFB5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65EC3-7709-4B20-AC3B-422475EFA339}" type="datetimeFigureOut">
              <a:rPr lang="de-DE" smtClean="0"/>
              <a:t>09.12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7FDA64-3777-0CFF-1EF8-3182EDB392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B6D8D3-52DE-5EF6-C5AC-54A41F90FF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73410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6C902-E056-2F29-339B-318ACD4B3B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F0D487-4B6E-09C8-4097-803131262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F219E6-1C76-E076-CEF7-56300765C5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65EC3-7709-4B20-AC3B-422475EFA339}" type="datetimeFigureOut">
              <a:rPr lang="de-DE" smtClean="0"/>
              <a:t>09.12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4CB680-BAC9-5EA8-BF70-34BBEF0D1D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75A23E-B3C4-CE8D-D358-5A6AABE72D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01316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417D9-AF82-227D-81B8-0F46AEE855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3E8826-0F20-4BA5-656E-A1B2CC87EC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FC419E-03A1-5116-EC4A-7B649C1499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65EC3-7709-4B20-AC3B-422475EFA339}" type="datetimeFigureOut">
              <a:rPr lang="de-DE" smtClean="0"/>
              <a:t>09.12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07273E-6E53-D245-CE1A-95B27F2116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012AB4-0158-0B0B-6F5F-11445CDAB3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16129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D884F0-0FB7-0F3F-3CFD-4CB40A94C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5D9D19-3A59-82D6-44C1-74B801DF61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F82705C-5ABC-201B-B21A-80D6C1855E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1BD733-1AEE-4CDC-608F-B92ECE048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65EC3-7709-4B20-AC3B-422475EFA339}" type="datetimeFigureOut">
              <a:rPr lang="de-DE" smtClean="0"/>
              <a:t>09.12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E341B9-A97C-8992-C9DB-5873E7A01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6C7B6B-3F9E-D007-EC11-CDD426C05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77066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08A9EA-702F-DB2C-91CB-92EA1051F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7DAFB5-DEEC-D2DC-4678-8351127FEA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EE6D32-640D-3674-56A5-F3C6522A87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BB3C09-3D9E-8DD3-A166-167DEAA7A9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C4D8DC8-2A41-5235-412E-4B9C4E0CF4A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C1A1E29-7F28-CC97-CB8C-4EAC40E709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65EC3-7709-4B20-AC3B-422475EFA339}" type="datetimeFigureOut">
              <a:rPr lang="de-DE" smtClean="0"/>
              <a:t>09.12.2022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5E94C81-AE6A-FB20-2610-CAE7BFFFB1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D576A29-33F1-21EA-C480-CC5519D0C7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66232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4B96FE-8B34-4EA8-EE31-D41592EE7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145EFF7-EE15-F9A6-E6E9-FC8EC09D5D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65EC3-7709-4B20-AC3B-422475EFA339}" type="datetimeFigureOut">
              <a:rPr lang="de-DE" smtClean="0"/>
              <a:t>09.12.2022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D49507-B022-EE5A-2812-65D55C60F4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BD21DD-355C-3D26-3908-F35923CE4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52847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9A8C0D-8976-7E78-0182-B67B4D6FCB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65EC3-7709-4B20-AC3B-422475EFA339}" type="datetimeFigureOut">
              <a:rPr lang="de-DE" smtClean="0"/>
              <a:t>09.12.2022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691050-D34D-55B3-FDBE-66364CAA8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764163-9200-7125-E7DC-A51820A79D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94754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F935EC-39F8-A3D1-2B0A-45E8CB9F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3856A9-7546-36F6-EE19-5A821B4D2F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7D8E1BD-81EB-3DD6-77AE-D264A2634C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3D6247-DDFC-376A-28F2-9B38493111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65EC3-7709-4B20-AC3B-422475EFA339}" type="datetimeFigureOut">
              <a:rPr lang="de-DE" smtClean="0"/>
              <a:t>09.12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FAF9B2-C07F-3B06-87C2-0D86328D91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E3FAB9-D069-C03E-D5BD-A18C438593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1393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B62570-586A-046D-497C-E794FF652E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28801AD-E085-6972-9B73-5D847943492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432F8D-5A34-3D94-E67E-371D52F042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BBA80A-3C7F-3DF3-E35B-35D2E956B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65EC3-7709-4B20-AC3B-422475EFA339}" type="datetimeFigureOut">
              <a:rPr lang="de-DE" smtClean="0"/>
              <a:t>09.12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D1E477A-EDAC-142E-2133-07376B200C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8BA86A-64F1-FDCC-7657-37E6E3EA6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84458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7272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3058219-C571-6BFC-DF01-F2F7457DBC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76312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6" progId="TCLayout.ActiveDocument.1">
                  <p:embed/>
                </p:oleObj>
              </mc:Choice>
              <mc:Fallback>
                <p:oleObj name="think-cell Slide" r:id="rId1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EEDA0F-A536-643D-DD45-22A898356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DE8D30-BB90-D19E-316C-4AD03A7849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2CCD4E-8A07-7C97-3D89-8C109CC486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B65EC3-7709-4B20-AC3B-422475EFA339}" type="datetimeFigureOut">
              <a:rPr lang="de-DE" smtClean="0"/>
              <a:t>09.12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7BA1F2-59E5-C031-6075-5D4EDC800D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B2465E-BB74-9FBB-55A5-590EEFE600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2582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10" Type="http://schemas.openxmlformats.org/officeDocument/2006/relationships/image" Target="../media/image7.sv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27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26.png"/><Relationship Id="rId11" Type="http://schemas.openxmlformats.org/officeDocument/2006/relationships/image" Target="../media/image31.svg"/><Relationship Id="rId5" Type="http://schemas.openxmlformats.org/officeDocument/2006/relationships/image" Target="../media/image32.png"/><Relationship Id="rId10" Type="http://schemas.openxmlformats.org/officeDocument/2006/relationships/image" Target="../media/image30.png"/><Relationship Id="rId4" Type="http://schemas.openxmlformats.org/officeDocument/2006/relationships/image" Target="../media/image1.emf"/><Relationship Id="rId9" Type="http://schemas.openxmlformats.org/officeDocument/2006/relationships/image" Target="../media/image29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35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4.png"/><Relationship Id="rId11" Type="http://schemas.openxmlformats.org/officeDocument/2006/relationships/image" Target="../media/image39.svg"/><Relationship Id="rId5" Type="http://schemas.openxmlformats.org/officeDocument/2006/relationships/image" Target="../media/image33.png"/><Relationship Id="rId10" Type="http://schemas.openxmlformats.org/officeDocument/2006/relationships/image" Target="../media/image38.png"/><Relationship Id="rId4" Type="http://schemas.openxmlformats.org/officeDocument/2006/relationships/image" Target="../media/image1.emf"/><Relationship Id="rId9" Type="http://schemas.openxmlformats.org/officeDocument/2006/relationships/image" Target="../media/image37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30.pn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18.png"/><Relationship Id="rId12" Type="http://schemas.openxmlformats.org/officeDocument/2006/relationships/image" Target="../media/image29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17.svg"/><Relationship Id="rId11" Type="http://schemas.openxmlformats.org/officeDocument/2006/relationships/image" Target="../media/image28.png"/><Relationship Id="rId5" Type="http://schemas.openxmlformats.org/officeDocument/2006/relationships/image" Target="../media/image16.png"/><Relationship Id="rId10" Type="http://schemas.openxmlformats.org/officeDocument/2006/relationships/image" Target="../media/image27.svg"/><Relationship Id="rId4" Type="http://schemas.openxmlformats.org/officeDocument/2006/relationships/image" Target="../media/image1.emf"/><Relationship Id="rId9" Type="http://schemas.openxmlformats.org/officeDocument/2006/relationships/image" Target="../media/image26.png"/><Relationship Id="rId14" Type="http://schemas.openxmlformats.org/officeDocument/2006/relationships/image" Target="../media/image31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34.png"/><Relationship Id="rId12" Type="http://schemas.openxmlformats.org/officeDocument/2006/relationships/image" Target="../media/image39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41.svg"/><Relationship Id="rId11" Type="http://schemas.openxmlformats.org/officeDocument/2006/relationships/image" Target="../media/image38.png"/><Relationship Id="rId5" Type="http://schemas.openxmlformats.org/officeDocument/2006/relationships/image" Target="../media/image40.png"/><Relationship Id="rId10" Type="http://schemas.openxmlformats.org/officeDocument/2006/relationships/image" Target="../media/image37.svg"/><Relationship Id="rId4" Type="http://schemas.openxmlformats.org/officeDocument/2006/relationships/image" Target="../media/image1.emf"/><Relationship Id="rId9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10" Type="http://schemas.openxmlformats.org/officeDocument/2006/relationships/image" Target="../media/image13.svg"/><Relationship Id="rId4" Type="http://schemas.openxmlformats.org/officeDocument/2006/relationships/image" Target="../media/image1.emf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10" Type="http://schemas.openxmlformats.org/officeDocument/2006/relationships/image" Target="../media/image15.svg"/><Relationship Id="rId4" Type="http://schemas.openxmlformats.org/officeDocument/2006/relationships/image" Target="../media/image1.emf"/><Relationship Id="rId9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7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10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8.png"/><Relationship Id="rId12" Type="http://schemas.openxmlformats.org/officeDocument/2006/relationships/image" Target="../media/image9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3.svg"/><Relationship Id="rId1" Type="http://schemas.openxmlformats.org/officeDocument/2006/relationships/tags" Target="../tags/tag9.xml"/><Relationship Id="rId6" Type="http://schemas.openxmlformats.org/officeDocument/2006/relationships/image" Target="../media/image17.svg"/><Relationship Id="rId11" Type="http://schemas.openxmlformats.org/officeDocument/2006/relationships/image" Target="../media/image8.png"/><Relationship Id="rId5" Type="http://schemas.openxmlformats.org/officeDocument/2006/relationships/image" Target="../media/image16.png"/><Relationship Id="rId15" Type="http://schemas.openxmlformats.org/officeDocument/2006/relationships/image" Target="../media/image12.png"/><Relationship Id="rId10" Type="http://schemas.openxmlformats.org/officeDocument/2006/relationships/image" Target="../media/image21.svg"/><Relationship Id="rId4" Type="http://schemas.openxmlformats.org/officeDocument/2006/relationships/image" Target="../media/image1.emf"/><Relationship Id="rId9" Type="http://schemas.openxmlformats.org/officeDocument/2006/relationships/image" Target="../media/image20.png"/><Relationship Id="rId14" Type="http://schemas.openxmlformats.org/officeDocument/2006/relationships/image" Target="../media/image11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13" Type="http://schemas.openxmlformats.org/officeDocument/2006/relationships/image" Target="../media/image30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24.png"/><Relationship Id="rId12" Type="http://schemas.openxmlformats.org/officeDocument/2006/relationships/image" Target="../media/image29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23.sv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image" Target="../media/image1.emf"/><Relationship Id="rId9" Type="http://schemas.openxmlformats.org/officeDocument/2006/relationships/image" Target="../media/image26.png"/><Relationship Id="rId14" Type="http://schemas.openxmlformats.org/officeDocument/2006/relationships/image" Target="../media/image3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FF72E1-0827-8C53-8C4A-BCB8D7E116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5200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262A5D0-8BA3-AC13-B213-094C44BFA1E9}"/>
              </a:ext>
            </a:extLst>
          </p:cNvPr>
          <p:cNvSpPr/>
          <p:nvPr/>
        </p:nvSpPr>
        <p:spPr>
          <a:xfrm>
            <a:off x="2254927" y="1154098"/>
            <a:ext cx="7332956" cy="3852908"/>
          </a:xfrm>
          <a:prstGeom prst="roundRect">
            <a:avLst>
              <a:gd name="adj" fmla="val 11212"/>
            </a:avLst>
          </a:prstGeom>
          <a:solidFill>
            <a:srgbClr val="0D11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tlCol="0" anchor="t"/>
          <a:lstStyle/>
          <a:p>
            <a:endParaRPr lang="de-DE" dirty="0">
              <a:latin typeface="Lato" panose="020F0502020204030203" pitchFamily="34" charset="0"/>
            </a:endParaRPr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828786DC-878D-3084-1F47-BBE050BDA098}"/>
              </a:ext>
            </a:extLst>
          </p:cNvPr>
          <p:cNvSpPr/>
          <p:nvPr/>
        </p:nvSpPr>
        <p:spPr>
          <a:xfrm>
            <a:off x="2254927" y="4200672"/>
            <a:ext cx="6965855" cy="806334"/>
          </a:xfrm>
          <a:prstGeom prst="round2SameRect">
            <a:avLst>
              <a:gd name="adj1" fmla="val 0"/>
              <a:gd name="adj2" fmla="val 53576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solidFill>
                <a:srgbClr val="0D1117"/>
              </a:solidFill>
              <a:latin typeface="Lato" panose="020F050202020403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4ADDA64-D3C1-52F2-D387-373C7E4BBA75}"/>
              </a:ext>
            </a:extLst>
          </p:cNvPr>
          <p:cNvSpPr txBox="1"/>
          <p:nvPr/>
        </p:nvSpPr>
        <p:spPr>
          <a:xfrm>
            <a:off x="2586798" y="1505431"/>
            <a:ext cx="4744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>
                <a:solidFill>
                  <a:schemeClr val="bg1"/>
                </a:solidFill>
                <a:latin typeface="Lato" panose="020F0502020204030203" pitchFamily="34" charset="0"/>
              </a:rPr>
              <a:t>Going to bed early</a:t>
            </a: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7755C065-430E-3D1E-7E7F-78F0A92057F4}"/>
              </a:ext>
            </a:extLst>
          </p:cNvPr>
          <p:cNvGrpSpPr/>
          <p:nvPr/>
        </p:nvGrpSpPr>
        <p:grpSpPr>
          <a:xfrm>
            <a:off x="8695113" y="1359359"/>
            <a:ext cx="661476" cy="661476"/>
            <a:chOff x="8695113" y="1359359"/>
            <a:chExt cx="661476" cy="661476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097FF17-195B-8CE3-BCDD-0783FB2E4A53}"/>
                </a:ext>
              </a:extLst>
            </p:cNvPr>
            <p:cNvSpPr/>
            <p:nvPr/>
          </p:nvSpPr>
          <p:spPr>
            <a:xfrm>
              <a:off x="8695113" y="1359359"/>
              <a:ext cx="661476" cy="661476"/>
            </a:xfrm>
            <a:prstGeom prst="ellipse">
              <a:avLst/>
            </a:prstGeom>
            <a:solidFill>
              <a:srgbClr val="1458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3794543F-26B7-6B46-3A08-0CAE99E93E3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830920" y="1502780"/>
              <a:ext cx="389862" cy="374634"/>
            </a:xfrm>
            <a:prstGeom prst="rect">
              <a:avLst/>
            </a:prstGeom>
          </p:spPr>
        </p:pic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C54D68E0-B928-E5F1-88DE-21EA7CB28233}"/>
              </a:ext>
            </a:extLst>
          </p:cNvPr>
          <p:cNvSpPr/>
          <p:nvPr/>
        </p:nvSpPr>
        <p:spPr>
          <a:xfrm>
            <a:off x="6371262" y="4200672"/>
            <a:ext cx="1221029" cy="80633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tangle: Diagonal Corners Rounded 15">
            <a:extLst>
              <a:ext uri="{FF2B5EF4-FFF2-40B4-BE49-F238E27FC236}">
                <a16:creationId xmlns:a16="http://schemas.microsoft.com/office/drawing/2014/main" id="{73A8D6FF-9A4D-0909-5D97-03FE504E8EF5}"/>
              </a:ext>
            </a:extLst>
          </p:cNvPr>
          <p:cNvSpPr/>
          <p:nvPr/>
        </p:nvSpPr>
        <p:spPr>
          <a:xfrm>
            <a:off x="6966065" y="4200672"/>
            <a:ext cx="2621818" cy="806334"/>
          </a:xfrm>
          <a:prstGeom prst="round2DiagRect">
            <a:avLst>
              <a:gd name="adj1" fmla="val 53576"/>
              <a:gd name="adj2" fmla="val 0"/>
            </a:avLst>
          </a:prstGeom>
          <a:solidFill>
            <a:srgbClr val="1458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r>
              <a:rPr lang="de-DE" sz="1400" dirty="0">
                <a:latin typeface="Lato" panose="020F0502020204030203" pitchFamily="34" charset="0"/>
              </a:rPr>
              <a:t>I did this today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202A0B22-1DF3-A1B6-44BB-8BE25CEF64B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893178" y="4416522"/>
            <a:ext cx="374634" cy="374634"/>
          </a:xfrm>
          <a:prstGeom prst="rect">
            <a:avLst/>
          </a:prstGeom>
        </p:spPr>
      </p:pic>
      <p:sp>
        <p:nvSpPr>
          <p:cNvPr id="70" name="Rectangle: Diagonal Corners Rounded 69">
            <a:extLst>
              <a:ext uri="{FF2B5EF4-FFF2-40B4-BE49-F238E27FC236}">
                <a16:creationId xmlns:a16="http://schemas.microsoft.com/office/drawing/2014/main" id="{00118CCA-DCFF-E0C3-7433-1DD3AE002A7C}"/>
              </a:ext>
            </a:extLst>
          </p:cNvPr>
          <p:cNvSpPr/>
          <p:nvPr/>
        </p:nvSpPr>
        <p:spPr>
          <a:xfrm>
            <a:off x="4344247" y="4200672"/>
            <a:ext cx="2621818" cy="806334"/>
          </a:xfrm>
          <a:prstGeom prst="round2DiagRect">
            <a:avLst>
              <a:gd name="adj1" fmla="val 53576"/>
              <a:gd name="adj2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de-DE" sz="1400" dirty="0">
                <a:latin typeface="Lato" panose="020F0502020204030203" pitchFamily="34" charset="0"/>
              </a:rPr>
              <a:t>I half-assed this today</a:t>
            </a:r>
          </a:p>
        </p:txBody>
      </p:sp>
      <p:sp>
        <p:nvSpPr>
          <p:cNvPr id="75" name="Rectangle: Top Corners Rounded 74">
            <a:extLst>
              <a:ext uri="{FF2B5EF4-FFF2-40B4-BE49-F238E27FC236}">
                <a16:creationId xmlns:a16="http://schemas.microsoft.com/office/drawing/2014/main" id="{C5A10A78-FAB2-E513-C5ED-0C413145BC01}"/>
              </a:ext>
            </a:extLst>
          </p:cNvPr>
          <p:cNvSpPr/>
          <p:nvPr/>
        </p:nvSpPr>
        <p:spPr>
          <a:xfrm rot="16200000">
            <a:off x="2531272" y="4217091"/>
            <a:ext cx="672737" cy="773496"/>
          </a:xfrm>
          <a:prstGeom prst="round2SameRect">
            <a:avLst>
              <a:gd name="adj1" fmla="val 15048"/>
              <a:gd name="adj2" fmla="val 0"/>
            </a:avLst>
          </a:prstGeom>
          <a:solidFill>
            <a:srgbClr val="1458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square" lIns="0" tIns="0" rIns="0" bIns="0" rtlCol="0" anchor="ctr"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Lato" panose="020F0502020204030203" pitchFamily="34" charset="0"/>
              </a:rPr>
              <a:t>Streak</a:t>
            </a:r>
          </a:p>
        </p:txBody>
      </p:sp>
      <p:sp>
        <p:nvSpPr>
          <p:cNvPr id="76" name="Rectangle: Top Corners Rounded 75">
            <a:extLst>
              <a:ext uri="{FF2B5EF4-FFF2-40B4-BE49-F238E27FC236}">
                <a16:creationId xmlns:a16="http://schemas.microsoft.com/office/drawing/2014/main" id="{2D7668EF-519D-8994-7C5E-934A1A227C8B}"/>
              </a:ext>
            </a:extLst>
          </p:cNvPr>
          <p:cNvSpPr/>
          <p:nvPr/>
        </p:nvSpPr>
        <p:spPr>
          <a:xfrm rot="5400000" flipH="1">
            <a:off x="3419669" y="4102190"/>
            <a:ext cx="672737" cy="1003297"/>
          </a:xfrm>
          <a:prstGeom prst="round2SameRect">
            <a:avLst>
              <a:gd name="adj1" fmla="val 15048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rtlCol="0" anchor="ctr">
            <a:noAutofit/>
          </a:bodyPr>
          <a:lstStyle/>
          <a:p>
            <a:pPr algn="ctr"/>
            <a:r>
              <a:rPr lang="de-DE" sz="2000" dirty="0">
                <a:solidFill>
                  <a:srgbClr val="145820"/>
                </a:solidFill>
                <a:latin typeface="Lato" panose="020F0502020204030203" pitchFamily="34" charset="0"/>
              </a:rPr>
              <a:t>1000</a:t>
            </a:r>
          </a:p>
          <a:p>
            <a:pPr algn="ctr"/>
            <a:r>
              <a:rPr lang="de-DE" sz="1050" dirty="0">
                <a:solidFill>
                  <a:srgbClr val="145820"/>
                </a:solidFill>
                <a:latin typeface="Lato" panose="020F0502020204030203" pitchFamily="34" charset="0"/>
              </a:rPr>
              <a:t>days</a:t>
            </a:r>
          </a:p>
        </p:txBody>
      </p:sp>
      <p:sp>
        <p:nvSpPr>
          <p:cNvPr id="77" name="Freeform: Shape 76">
            <a:extLst>
              <a:ext uri="{FF2B5EF4-FFF2-40B4-BE49-F238E27FC236}">
                <a16:creationId xmlns:a16="http://schemas.microsoft.com/office/drawing/2014/main" id="{76EC9AC4-1AFA-B7F5-FA90-2FD4085DFCC8}"/>
              </a:ext>
            </a:extLst>
          </p:cNvPr>
          <p:cNvSpPr/>
          <p:nvPr/>
        </p:nvSpPr>
        <p:spPr>
          <a:xfrm>
            <a:off x="2254927" y="1275146"/>
            <a:ext cx="133166" cy="3637556"/>
          </a:xfrm>
          <a:custGeom>
            <a:avLst/>
            <a:gdLst>
              <a:gd name="connsiteX0" fmla="*/ 133166 w 133166"/>
              <a:gd name="connsiteY0" fmla="*/ 0 h 3610811"/>
              <a:gd name="connsiteX1" fmla="*/ 133166 w 133166"/>
              <a:gd name="connsiteY1" fmla="*/ 3610811 h 3610811"/>
              <a:gd name="connsiteX2" fmla="*/ 126527 w 133166"/>
              <a:gd name="connsiteY2" fmla="*/ 3605333 h 3610811"/>
              <a:gd name="connsiteX3" fmla="*/ 0 w 133166"/>
              <a:gd name="connsiteY3" fmla="*/ 3299871 h 3610811"/>
              <a:gd name="connsiteX4" fmla="*/ 0 w 133166"/>
              <a:gd name="connsiteY4" fmla="*/ 310939 h 3610811"/>
              <a:gd name="connsiteX5" fmla="*/ 126527 w 133166"/>
              <a:gd name="connsiteY5" fmla="*/ 5478 h 3610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3166" h="3610811">
                <a:moveTo>
                  <a:pt x="133166" y="0"/>
                </a:moveTo>
                <a:lnTo>
                  <a:pt x="133166" y="3610811"/>
                </a:lnTo>
                <a:lnTo>
                  <a:pt x="126527" y="3605333"/>
                </a:lnTo>
                <a:cubicBezTo>
                  <a:pt x="48352" y="3527158"/>
                  <a:pt x="0" y="3419161"/>
                  <a:pt x="0" y="3299871"/>
                </a:cubicBezTo>
                <a:lnTo>
                  <a:pt x="0" y="310939"/>
                </a:lnTo>
                <a:cubicBezTo>
                  <a:pt x="0" y="191649"/>
                  <a:pt x="48352" y="83652"/>
                  <a:pt x="126527" y="5478"/>
                </a:cubicBezTo>
                <a:close/>
              </a:path>
            </a:pathLst>
          </a:custGeom>
          <a:solidFill>
            <a:srgbClr val="1458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360000" rtlCol="0" anchor="t">
            <a:noAutofit/>
          </a:bodyPr>
          <a:lstStyle/>
          <a:p>
            <a:endParaRPr lang="de-DE" dirty="0">
              <a:latin typeface="Lato" panose="020F0502020204030203" pitchFamily="34" charset="0"/>
            </a:endParaRP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8AEFED0A-050D-CDD0-0E55-0AFEA77C3E85}"/>
              </a:ext>
            </a:extLst>
          </p:cNvPr>
          <p:cNvGrpSpPr/>
          <p:nvPr/>
        </p:nvGrpSpPr>
        <p:grpSpPr>
          <a:xfrm>
            <a:off x="2944647" y="2425717"/>
            <a:ext cx="5378812" cy="1069055"/>
            <a:chOff x="3231998" y="2223350"/>
            <a:chExt cx="5378812" cy="1069055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099E252-D249-804B-C407-59E4177C3EF2}"/>
                </a:ext>
              </a:extLst>
            </p:cNvPr>
            <p:cNvGrpSpPr/>
            <p:nvPr/>
          </p:nvGrpSpPr>
          <p:grpSpPr>
            <a:xfrm>
              <a:off x="3231998" y="2695718"/>
              <a:ext cx="5378812" cy="596687"/>
              <a:chOff x="3282676" y="2695718"/>
              <a:chExt cx="5378812" cy="596687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77A38957-F670-F3BE-D500-A31B3FA0892C}"/>
                  </a:ext>
                </a:extLst>
              </p:cNvPr>
              <p:cNvSpPr/>
              <p:nvPr/>
            </p:nvSpPr>
            <p:spPr>
              <a:xfrm>
                <a:off x="3282676" y="2695718"/>
                <a:ext cx="597517" cy="596684"/>
              </a:xfrm>
              <a:prstGeom prst="ellips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468000" rtlCol="0" anchor="ctr"/>
              <a:lstStyle/>
              <a:p>
                <a:pPr algn="ctr"/>
                <a:endParaRPr lang="de-DE" sz="1400">
                  <a:latin typeface="Lato" panose="020F0502020204030203" pitchFamily="34" charset="0"/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AFE3CCFE-A525-DCA7-4639-1A45A10B979C}"/>
                  </a:ext>
                </a:extLst>
              </p:cNvPr>
              <p:cNvSpPr/>
              <p:nvPr/>
            </p:nvSpPr>
            <p:spPr>
              <a:xfrm>
                <a:off x="4079558" y="2695718"/>
                <a:ext cx="597517" cy="596684"/>
              </a:xfrm>
              <a:prstGeom prst="ellips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468000" rtlCol="0" anchor="ctr"/>
              <a:lstStyle/>
              <a:p>
                <a:pPr algn="ctr"/>
                <a:endParaRPr lang="de-DE" sz="1400">
                  <a:latin typeface="Lato" panose="020F0502020204030203" pitchFamily="34" charset="0"/>
                </a:endParaRPr>
              </a:p>
            </p:txBody>
          </p:sp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FDD9013E-9A28-6F52-ECF8-7E18D9CA6735}"/>
                  </a:ext>
                </a:extLst>
              </p:cNvPr>
              <p:cNvGrpSpPr/>
              <p:nvPr/>
            </p:nvGrpSpPr>
            <p:grpSpPr>
              <a:xfrm>
                <a:off x="4876443" y="2695721"/>
                <a:ext cx="597517" cy="596684"/>
                <a:chOff x="3448272" y="2883066"/>
                <a:chExt cx="478951" cy="478283"/>
              </a:xfrm>
            </p:grpSpPr>
            <p:sp>
              <p:nvSpPr>
                <p:cNvPr id="94" name="Oval 93">
                  <a:extLst>
                    <a:ext uri="{FF2B5EF4-FFF2-40B4-BE49-F238E27FC236}">
                      <a16:creationId xmlns:a16="http://schemas.microsoft.com/office/drawing/2014/main" id="{FB2D44C6-A860-1BD3-B617-2B6D75609741}"/>
                    </a:ext>
                  </a:extLst>
                </p:cNvPr>
                <p:cNvSpPr/>
                <p:nvPr/>
              </p:nvSpPr>
              <p:spPr>
                <a:xfrm>
                  <a:off x="3448272" y="2883066"/>
                  <a:ext cx="478951" cy="478283"/>
                </a:xfrm>
                <a:prstGeom prst="ellipse">
                  <a:avLst/>
                </a:prstGeom>
                <a:solidFill>
                  <a:srgbClr val="14582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468000" rtlCol="0" anchor="ctr"/>
                <a:lstStyle/>
                <a:p>
                  <a:pPr algn="ctr"/>
                  <a:endParaRPr lang="de-DE" sz="1400">
                    <a:latin typeface="Lato" panose="020F0502020204030203" pitchFamily="34" charset="0"/>
                  </a:endParaRPr>
                </a:p>
              </p:txBody>
            </p:sp>
            <p:pic>
              <p:nvPicPr>
                <p:cNvPr id="95" name="Graphic 94">
                  <a:extLst>
                    <a:ext uri="{FF2B5EF4-FFF2-40B4-BE49-F238E27FC236}">
                      <a16:creationId xmlns:a16="http://schemas.microsoft.com/office/drawing/2014/main" id="{02B0F2C5-D4DD-FF1F-F522-E914B3D46D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50055" y="3016291"/>
                  <a:ext cx="275385" cy="211834"/>
                </a:xfrm>
                <a:prstGeom prst="rect">
                  <a:avLst/>
                </a:prstGeom>
              </p:spPr>
            </p:pic>
          </p:grp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BA876CFF-CE68-2FC8-8C92-4279D99CCEDB}"/>
                  </a:ext>
                </a:extLst>
              </p:cNvPr>
              <p:cNvGrpSpPr/>
              <p:nvPr/>
            </p:nvGrpSpPr>
            <p:grpSpPr>
              <a:xfrm>
                <a:off x="5673325" y="2695721"/>
                <a:ext cx="597517" cy="596684"/>
                <a:chOff x="3448272" y="2883066"/>
                <a:chExt cx="478951" cy="478283"/>
              </a:xfrm>
            </p:grpSpPr>
            <p:sp>
              <p:nvSpPr>
                <p:cNvPr id="92" name="Oval 91">
                  <a:extLst>
                    <a:ext uri="{FF2B5EF4-FFF2-40B4-BE49-F238E27FC236}">
                      <a16:creationId xmlns:a16="http://schemas.microsoft.com/office/drawing/2014/main" id="{A74FF4AC-2C07-325E-C3B0-E7BE3B05CC93}"/>
                    </a:ext>
                  </a:extLst>
                </p:cNvPr>
                <p:cNvSpPr/>
                <p:nvPr/>
              </p:nvSpPr>
              <p:spPr>
                <a:xfrm>
                  <a:off x="3448272" y="2883066"/>
                  <a:ext cx="478951" cy="478283"/>
                </a:xfrm>
                <a:prstGeom prst="ellipse">
                  <a:avLst/>
                </a:prstGeom>
                <a:solidFill>
                  <a:srgbClr val="89A58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468000" rtlCol="0" anchor="ctr"/>
                <a:lstStyle/>
                <a:p>
                  <a:pPr algn="ctr"/>
                  <a:endParaRPr lang="de-DE" sz="1400">
                    <a:latin typeface="Lato" panose="020F0502020204030203" pitchFamily="34" charset="0"/>
                  </a:endParaRPr>
                </a:p>
              </p:txBody>
            </p:sp>
            <p:pic>
              <p:nvPicPr>
                <p:cNvPr id="93" name="Graphic 92">
                  <a:extLst>
                    <a:ext uri="{FF2B5EF4-FFF2-40B4-BE49-F238E27FC236}">
                      <a16:creationId xmlns:a16="http://schemas.microsoft.com/office/drawing/2014/main" id="{F83B2BBE-D464-171C-9B23-61E3275DBDD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50055" y="3016291"/>
                  <a:ext cx="275385" cy="211834"/>
                </a:xfrm>
                <a:prstGeom prst="rect">
                  <a:avLst/>
                </a:prstGeom>
              </p:spPr>
            </p:pic>
          </p:grpSp>
          <p:grpSp>
            <p:nvGrpSpPr>
              <p:cNvPr id="83" name="Group 82">
                <a:extLst>
                  <a:ext uri="{FF2B5EF4-FFF2-40B4-BE49-F238E27FC236}">
                    <a16:creationId xmlns:a16="http://schemas.microsoft.com/office/drawing/2014/main" id="{6E4A1428-566C-0C13-8D5A-7C78627DC02E}"/>
                  </a:ext>
                </a:extLst>
              </p:cNvPr>
              <p:cNvGrpSpPr/>
              <p:nvPr/>
            </p:nvGrpSpPr>
            <p:grpSpPr>
              <a:xfrm>
                <a:off x="6470207" y="2695721"/>
                <a:ext cx="597517" cy="596684"/>
                <a:chOff x="3448272" y="2883066"/>
                <a:chExt cx="478951" cy="478283"/>
              </a:xfrm>
            </p:grpSpPr>
            <p:sp>
              <p:nvSpPr>
                <p:cNvPr id="90" name="Oval 89">
                  <a:extLst>
                    <a:ext uri="{FF2B5EF4-FFF2-40B4-BE49-F238E27FC236}">
                      <a16:creationId xmlns:a16="http://schemas.microsoft.com/office/drawing/2014/main" id="{4BD22F65-55C3-B03A-1C7A-B7151BAE8812}"/>
                    </a:ext>
                  </a:extLst>
                </p:cNvPr>
                <p:cNvSpPr/>
                <p:nvPr/>
              </p:nvSpPr>
              <p:spPr>
                <a:xfrm>
                  <a:off x="3448272" y="2883066"/>
                  <a:ext cx="478951" cy="478283"/>
                </a:xfrm>
                <a:prstGeom prst="ellipse">
                  <a:avLst/>
                </a:prstGeom>
                <a:solidFill>
                  <a:srgbClr val="89A58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468000" rtlCol="0" anchor="ctr"/>
                <a:lstStyle/>
                <a:p>
                  <a:pPr algn="ctr"/>
                  <a:endParaRPr lang="de-DE" sz="1400">
                    <a:latin typeface="Lato" panose="020F0502020204030203" pitchFamily="34" charset="0"/>
                  </a:endParaRPr>
                </a:p>
              </p:txBody>
            </p:sp>
            <p:pic>
              <p:nvPicPr>
                <p:cNvPr id="91" name="Graphic 90">
                  <a:extLst>
                    <a:ext uri="{FF2B5EF4-FFF2-40B4-BE49-F238E27FC236}">
                      <a16:creationId xmlns:a16="http://schemas.microsoft.com/office/drawing/2014/main" id="{6B901BEB-3E94-CAA8-1FF8-E7D65F45050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50055" y="3016291"/>
                  <a:ext cx="275385" cy="211834"/>
                </a:xfrm>
                <a:prstGeom prst="rect">
                  <a:avLst/>
                </a:prstGeom>
              </p:spPr>
            </p:pic>
          </p:grpSp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FAE4F3EA-F61F-66C9-C693-09806370B92D}"/>
                  </a:ext>
                </a:extLst>
              </p:cNvPr>
              <p:cNvGrpSpPr/>
              <p:nvPr/>
            </p:nvGrpSpPr>
            <p:grpSpPr>
              <a:xfrm>
                <a:off x="7267089" y="2695721"/>
                <a:ext cx="597517" cy="596684"/>
                <a:chOff x="3448272" y="2883066"/>
                <a:chExt cx="478951" cy="478283"/>
              </a:xfrm>
            </p:grpSpPr>
            <p:sp>
              <p:nvSpPr>
                <p:cNvPr id="88" name="Oval 87">
                  <a:extLst>
                    <a:ext uri="{FF2B5EF4-FFF2-40B4-BE49-F238E27FC236}">
                      <a16:creationId xmlns:a16="http://schemas.microsoft.com/office/drawing/2014/main" id="{55871CBD-FE43-7F6D-C9CF-E33F546A869D}"/>
                    </a:ext>
                  </a:extLst>
                </p:cNvPr>
                <p:cNvSpPr/>
                <p:nvPr/>
              </p:nvSpPr>
              <p:spPr>
                <a:xfrm>
                  <a:off x="3448272" y="2883066"/>
                  <a:ext cx="478951" cy="478283"/>
                </a:xfrm>
                <a:prstGeom prst="ellipse">
                  <a:avLst/>
                </a:prstGeom>
                <a:solidFill>
                  <a:srgbClr val="14582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468000" rtlCol="0" anchor="ctr"/>
                <a:lstStyle/>
                <a:p>
                  <a:pPr algn="ctr"/>
                  <a:endParaRPr lang="de-DE" sz="1400" dirty="0">
                    <a:latin typeface="Lato" panose="020F0502020204030203" pitchFamily="34" charset="0"/>
                  </a:endParaRPr>
                </a:p>
              </p:txBody>
            </p:sp>
            <p:pic>
              <p:nvPicPr>
                <p:cNvPr id="89" name="Graphic 88">
                  <a:extLst>
                    <a:ext uri="{FF2B5EF4-FFF2-40B4-BE49-F238E27FC236}">
                      <a16:creationId xmlns:a16="http://schemas.microsoft.com/office/drawing/2014/main" id="{EB1F31B8-E772-6CEA-A4A6-A0353129535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50055" y="3016291"/>
                  <a:ext cx="275385" cy="211834"/>
                </a:xfrm>
                <a:prstGeom prst="rect">
                  <a:avLst/>
                </a:prstGeom>
              </p:spPr>
            </p:pic>
          </p:grp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1235ADBE-FA07-3F3F-9294-8BB51E33EF55}"/>
                  </a:ext>
                </a:extLst>
              </p:cNvPr>
              <p:cNvGrpSpPr/>
              <p:nvPr/>
            </p:nvGrpSpPr>
            <p:grpSpPr>
              <a:xfrm>
                <a:off x="8063971" y="2695721"/>
                <a:ext cx="597517" cy="596684"/>
                <a:chOff x="3448272" y="2883066"/>
                <a:chExt cx="478951" cy="478283"/>
              </a:xfrm>
            </p:grpSpPr>
            <p:sp>
              <p:nvSpPr>
                <p:cNvPr id="86" name="Oval 85">
                  <a:extLst>
                    <a:ext uri="{FF2B5EF4-FFF2-40B4-BE49-F238E27FC236}">
                      <a16:creationId xmlns:a16="http://schemas.microsoft.com/office/drawing/2014/main" id="{FDB479E1-E365-08CA-B108-ECF49E25AE2A}"/>
                    </a:ext>
                  </a:extLst>
                </p:cNvPr>
                <p:cNvSpPr/>
                <p:nvPr/>
              </p:nvSpPr>
              <p:spPr>
                <a:xfrm>
                  <a:off x="3448272" y="2883066"/>
                  <a:ext cx="478951" cy="478283"/>
                </a:xfrm>
                <a:prstGeom prst="ellipse">
                  <a:avLst/>
                </a:prstGeom>
                <a:solidFill>
                  <a:srgbClr val="14582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468000" rtlCol="0" anchor="ctr"/>
                <a:lstStyle/>
                <a:p>
                  <a:pPr algn="ctr"/>
                  <a:endParaRPr lang="de-DE" sz="1400">
                    <a:latin typeface="Lato" panose="020F0502020204030203" pitchFamily="34" charset="0"/>
                  </a:endParaRPr>
                </a:p>
              </p:txBody>
            </p:sp>
            <p:pic>
              <p:nvPicPr>
                <p:cNvPr id="87" name="Graphic 86">
                  <a:extLst>
                    <a:ext uri="{FF2B5EF4-FFF2-40B4-BE49-F238E27FC236}">
                      <a16:creationId xmlns:a16="http://schemas.microsoft.com/office/drawing/2014/main" id="{8B9864DB-5C0C-4256-009C-DB13E4BDE4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50055" y="3016291"/>
                  <a:ext cx="275385" cy="211834"/>
                </a:xfrm>
                <a:prstGeom prst="rect">
                  <a:avLst/>
                </a:prstGeom>
              </p:spPr>
            </p:pic>
          </p:grpSp>
        </p:grp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3DBD8C0F-9DB9-E73F-69C7-D9B78CF05B95}"/>
                </a:ext>
              </a:extLst>
            </p:cNvPr>
            <p:cNvSpPr/>
            <p:nvPr/>
          </p:nvSpPr>
          <p:spPr>
            <a:xfrm>
              <a:off x="3231998" y="2223350"/>
              <a:ext cx="597517" cy="369332"/>
            </a:xfrm>
            <a:prstGeom prst="rect">
              <a:avLst/>
            </a:prstGeom>
            <a:solidFill>
              <a:srgbClr val="0D11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Sun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4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8BB233F2-7D11-6D71-5F8E-DAE0F2607A67}"/>
                </a:ext>
              </a:extLst>
            </p:cNvPr>
            <p:cNvSpPr/>
            <p:nvPr/>
          </p:nvSpPr>
          <p:spPr>
            <a:xfrm>
              <a:off x="4028880" y="2223350"/>
              <a:ext cx="597517" cy="369332"/>
            </a:xfrm>
            <a:prstGeom prst="rect">
              <a:avLst/>
            </a:prstGeom>
            <a:solidFill>
              <a:srgbClr val="0D11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Mon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5</a:t>
              </a: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1B88ADD2-7E38-101B-7201-8622244014CA}"/>
                </a:ext>
              </a:extLst>
            </p:cNvPr>
            <p:cNvSpPr/>
            <p:nvPr/>
          </p:nvSpPr>
          <p:spPr>
            <a:xfrm>
              <a:off x="4825765" y="2223353"/>
              <a:ext cx="597517" cy="369332"/>
            </a:xfrm>
            <a:prstGeom prst="rect">
              <a:avLst/>
            </a:prstGeom>
            <a:solidFill>
              <a:srgbClr val="0D11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Tue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6</a:t>
              </a: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CFCAC636-7A9E-C8E3-7544-F75A3E2984B5}"/>
                </a:ext>
              </a:extLst>
            </p:cNvPr>
            <p:cNvSpPr/>
            <p:nvPr/>
          </p:nvSpPr>
          <p:spPr>
            <a:xfrm>
              <a:off x="5622647" y="2223350"/>
              <a:ext cx="597517" cy="369332"/>
            </a:xfrm>
            <a:prstGeom prst="rect">
              <a:avLst/>
            </a:prstGeom>
            <a:solidFill>
              <a:srgbClr val="0D11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Wed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7</a:t>
              </a: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44B3DD5B-3F82-08BC-04A0-35EC7A63DAFC}"/>
                </a:ext>
              </a:extLst>
            </p:cNvPr>
            <p:cNvSpPr/>
            <p:nvPr/>
          </p:nvSpPr>
          <p:spPr>
            <a:xfrm>
              <a:off x="6419529" y="2223350"/>
              <a:ext cx="597517" cy="369332"/>
            </a:xfrm>
            <a:prstGeom prst="rect">
              <a:avLst/>
            </a:prstGeom>
            <a:solidFill>
              <a:srgbClr val="0D11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Thu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8</a:t>
              </a: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86676961-AAA2-AE47-6DFD-8891BF93BAD0}"/>
                </a:ext>
              </a:extLst>
            </p:cNvPr>
            <p:cNvSpPr/>
            <p:nvPr/>
          </p:nvSpPr>
          <p:spPr>
            <a:xfrm>
              <a:off x="7216411" y="2223353"/>
              <a:ext cx="597517" cy="369332"/>
            </a:xfrm>
            <a:prstGeom prst="rect">
              <a:avLst/>
            </a:prstGeom>
            <a:solidFill>
              <a:srgbClr val="0D11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Fri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9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75FC511F-15C1-B3C8-D173-B3183E84B813}"/>
                </a:ext>
              </a:extLst>
            </p:cNvPr>
            <p:cNvSpPr/>
            <p:nvPr/>
          </p:nvSpPr>
          <p:spPr>
            <a:xfrm>
              <a:off x="8013293" y="2223353"/>
              <a:ext cx="597517" cy="369332"/>
            </a:xfrm>
            <a:prstGeom prst="rect">
              <a:avLst/>
            </a:prstGeom>
            <a:solidFill>
              <a:srgbClr val="0D11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Sat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10</a:t>
              </a:r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B3CD5145-4E66-1404-5F99-8258D9304087}"/>
              </a:ext>
            </a:extLst>
          </p:cNvPr>
          <p:cNvGrpSpPr/>
          <p:nvPr/>
        </p:nvGrpSpPr>
        <p:grpSpPr>
          <a:xfrm>
            <a:off x="8860755" y="2176944"/>
            <a:ext cx="330190" cy="70279"/>
            <a:chOff x="7686950" y="1440238"/>
            <a:chExt cx="479262" cy="102008"/>
          </a:xfrm>
        </p:grpSpPr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BD784211-A2BF-6AA1-BB68-253DECF5C0E9}"/>
                </a:ext>
              </a:extLst>
            </p:cNvPr>
            <p:cNvSpPr/>
            <p:nvPr/>
          </p:nvSpPr>
          <p:spPr>
            <a:xfrm>
              <a:off x="7686950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EDADD81C-9C84-DD45-D9E5-07FBBE0309A9}"/>
                </a:ext>
              </a:extLst>
            </p:cNvPr>
            <p:cNvSpPr/>
            <p:nvPr/>
          </p:nvSpPr>
          <p:spPr>
            <a:xfrm>
              <a:off x="7875577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85C3516B-B4DA-D791-EBDC-688C2F7EFA7F}"/>
                </a:ext>
              </a:extLst>
            </p:cNvPr>
            <p:cNvSpPr/>
            <p:nvPr/>
          </p:nvSpPr>
          <p:spPr>
            <a:xfrm>
              <a:off x="8064204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21" name="Oval 120">
            <a:extLst>
              <a:ext uri="{FF2B5EF4-FFF2-40B4-BE49-F238E27FC236}">
                <a16:creationId xmlns:a16="http://schemas.microsoft.com/office/drawing/2014/main" id="{8C8736BE-362E-86A0-7871-1A0F37EE096F}"/>
              </a:ext>
            </a:extLst>
          </p:cNvPr>
          <p:cNvSpPr/>
          <p:nvPr/>
        </p:nvSpPr>
        <p:spPr>
          <a:xfrm>
            <a:off x="8804349" y="2403332"/>
            <a:ext cx="443004" cy="44300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241A9CA4-01AB-1B2F-754A-4AFB7B501628}"/>
              </a:ext>
            </a:extLst>
          </p:cNvPr>
          <p:cNvSpPr/>
          <p:nvPr/>
        </p:nvSpPr>
        <p:spPr>
          <a:xfrm>
            <a:off x="8804349" y="3002445"/>
            <a:ext cx="443004" cy="44300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054C67A1-D75F-787D-4433-0F0A9568DE79}"/>
              </a:ext>
            </a:extLst>
          </p:cNvPr>
          <p:cNvSpPr/>
          <p:nvPr/>
        </p:nvSpPr>
        <p:spPr>
          <a:xfrm>
            <a:off x="8804349" y="3601558"/>
            <a:ext cx="443004" cy="44300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16624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1DE1B5-7667-25B8-8A5C-962B5641CD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283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1DE1B5-7667-25B8-8A5C-962B5641C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EFB9C310-2154-FE0C-9067-C2E8ED1DD4C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928"/>
          <a:stretch/>
        </p:blipFill>
        <p:spPr>
          <a:xfrm>
            <a:off x="2254927" y="1154099"/>
            <a:ext cx="7332955" cy="3852002"/>
          </a:xfrm>
          <a:prstGeom prst="roundRect">
            <a:avLst>
              <a:gd name="adj" fmla="val 11215"/>
            </a:avLst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0CE8F63-8D69-08AA-6329-EA3C109525B9}"/>
              </a:ext>
            </a:extLst>
          </p:cNvPr>
          <p:cNvSpPr txBox="1"/>
          <p:nvPr/>
        </p:nvSpPr>
        <p:spPr>
          <a:xfrm>
            <a:off x="2586798" y="1505431"/>
            <a:ext cx="4744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Lato" panose="020F0502020204030203" pitchFamily="34" charset="0"/>
              </a:rPr>
              <a:t>Going to bed early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45DA731-265E-785A-C22B-25DF6D37B053}"/>
              </a:ext>
            </a:extLst>
          </p:cNvPr>
          <p:cNvGrpSpPr/>
          <p:nvPr/>
        </p:nvGrpSpPr>
        <p:grpSpPr>
          <a:xfrm>
            <a:off x="8860756" y="4599633"/>
            <a:ext cx="330190" cy="70279"/>
            <a:chOff x="7686950" y="1440238"/>
            <a:chExt cx="479262" cy="102008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23D7299-5168-512A-9B56-800FE7DAAE55}"/>
                </a:ext>
              </a:extLst>
            </p:cNvPr>
            <p:cNvSpPr/>
            <p:nvPr/>
          </p:nvSpPr>
          <p:spPr>
            <a:xfrm>
              <a:off x="7686950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B8F60CD3-8EFC-B24A-315D-F0F6EB6D20AD}"/>
                </a:ext>
              </a:extLst>
            </p:cNvPr>
            <p:cNvSpPr/>
            <p:nvPr/>
          </p:nvSpPr>
          <p:spPr>
            <a:xfrm>
              <a:off x="7875577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A32AEDAE-DBA3-8A52-9EB9-0B0F72AF64CF}"/>
                </a:ext>
              </a:extLst>
            </p:cNvPr>
            <p:cNvSpPr/>
            <p:nvPr/>
          </p:nvSpPr>
          <p:spPr>
            <a:xfrm>
              <a:off x="8064204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8" name="Oval 37">
            <a:extLst>
              <a:ext uri="{FF2B5EF4-FFF2-40B4-BE49-F238E27FC236}">
                <a16:creationId xmlns:a16="http://schemas.microsoft.com/office/drawing/2014/main" id="{EA1C00F1-55EA-104F-CF31-B784E4E9D4FE}"/>
              </a:ext>
            </a:extLst>
          </p:cNvPr>
          <p:cNvSpPr/>
          <p:nvPr/>
        </p:nvSpPr>
        <p:spPr>
          <a:xfrm>
            <a:off x="3156240" y="3398385"/>
            <a:ext cx="227867" cy="227549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endParaRPr lang="de-DE" sz="1400">
              <a:latin typeface="Lato" panose="020F0502020204030203" pitchFamily="34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E2FE3BA6-1EDF-6F71-40B2-10E89B5ADCAD}"/>
              </a:ext>
            </a:extLst>
          </p:cNvPr>
          <p:cNvSpPr/>
          <p:nvPr/>
        </p:nvSpPr>
        <p:spPr>
          <a:xfrm>
            <a:off x="4039984" y="3398385"/>
            <a:ext cx="227867" cy="227549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endParaRPr lang="de-DE" sz="1400">
              <a:latin typeface="Lato" panose="020F0502020204030203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ADDA636-7675-DB14-D986-BF0FBD2D8AE7}"/>
              </a:ext>
            </a:extLst>
          </p:cNvPr>
          <p:cNvSpPr/>
          <p:nvPr/>
        </p:nvSpPr>
        <p:spPr>
          <a:xfrm>
            <a:off x="2938849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Sun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4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ED7C594-F0A3-A455-9F5B-F855015B78A7}"/>
              </a:ext>
            </a:extLst>
          </p:cNvPr>
          <p:cNvSpPr/>
          <p:nvPr/>
        </p:nvSpPr>
        <p:spPr>
          <a:xfrm>
            <a:off x="3822593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Mon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5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214F8C5-E51A-DFF8-7DC6-66596D410E5B}"/>
              </a:ext>
            </a:extLst>
          </p:cNvPr>
          <p:cNvSpPr/>
          <p:nvPr/>
        </p:nvSpPr>
        <p:spPr>
          <a:xfrm>
            <a:off x="4706340" y="2657444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Tue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6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0DFC197-BC43-D4BE-1D10-B8EF3407415F}"/>
              </a:ext>
            </a:extLst>
          </p:cNvPr>
          <p:cNvSpPr/>
          <p:nvPr/>
        </p:nvSpPr>
        <p:spPr>
          <a:xfrm>
            <a:off x="5590083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Wed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7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FD25D42-A774-FF6B-DB94-8B57FCE646B6}"/>
              </a:ext>
            </a:extLst>
          </p:cNvPr>
          <p:cNvSpPr/>
          <p:nvPr/>
        </p:nvSpPr>
        <p:spPr>
          <a:xfrm>
            <a:off x="6473827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Thu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8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E0FA752-7A8F-2750-290B-F6E38FBC90E5}"/>
              </a:ext>
            </a:extLst>
          </p:cNvPr>
          <p:cNvSpPr/>
          <p:nvPr/>
        </p:nvSpPr>
        <p:spPr>
          <a:xfrm>
            <a:off x="7357571" y="2657444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Fri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9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64B9C71-848C-6B6C-0A65-852CC5644526}"/>
              </a:ext>
            </a:extLst>
          </p:cNvPr>
          <p:cNvSpPr/>
          <p:nvPr/>
        </p:nvSpPr>
        <p:spPr>
          <a:xfrm>
            <a:off x="8241314" y="2657444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Sat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10</a:t>
            </a:r>
          </a:p>
        </p:txBody>
      </p:sp>
      <p:pic>
        <p:nvPicPr>
          <p:cNvPr id="47" name="Graphic 46">
            <a:extLst>
              <a:ext uri="{FF2B5EF4-FFF2-40B4-BE49-F238E27FC236}">
                <a16:creationId xmlns:a16="http://schemas.microsoft.com/office/drawing/2014/main" id="{6C7FACF8-F0F4-7D3E-8B0C-B98A07DB3B3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54011" y="3370686"/>
            <a:ext cx="367306" cy="282949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21F0B41B-9E1C-FBD1-78F4-9F926BF0800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37755" y="3370689"/>
            <a:ext cx="367306" cy="282949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65B4B400-A49D-6E81-5261-C9CE2DFA235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05241" y="3370689"/>
            <a:ext cx="367306" cy="282949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5CA1606C-34A3-76CF-C3A6-A6DA90C6F44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88986" y="3370689"/>
            <a:ext cx="367306" cy="282949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2FBA99AC-A696-B7A8-9868-3D204C0BF76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621498" y="3370689"/>
            <a:ext cx="367306" cy="282949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20AD7104-1F39-7FF6-A8CE-140F65FB1ED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694527" y="1384018"/>
            <a:ext cx="662648" cy="612160"/>
          </a:xfrm>
          <a:prstGeom prst="rect">
            <a:avLst/>
          </a:prstGeom>
        </p:spPr>
      </p:pic>
      <p:sp>
        <p:nvSpPr>
          <p:cNvPr id="3" name="Freeform: Shape 2">
            <a:extLst>
              <a:ext uri="{FF2B5EF4-FFF2-40B4-BE49-F238E27FC236}">
                <a16:creationId xmlns:a16="http://schemas.microsoft.com/office/drawing/2014/main" id="{A0F6FA88-2D62-003A-978B-99F2CB48EE29}"/>
              </a:ext>
            </a:extLst>
          </p:cNvPr>
          <p:cNvSpPr/>
          <p:nvPr/>
        </p:nvSpPr>
        <p:spPr>
          <a:xfrm>
            <a:off x="2254927" y="1275146"/>
            <a:ext cx="133166" cy="3637556"/>
          </a:xfrm>
          <a:custGeom>
            <a:avLst/>
            <a:gdLst>
              <a:gd name="connsiteX0" fmla="*/ 133166 w 133166"/>
              <a:gd name="connsiteY0" fmla="*/ 0 h 3610811"/>
              <a:gd name="connsiteX1" fmla="*/ 133166 w 133166"/>
              <a:gd name="connsiteY1" fmla="*/ 3610811 h 3610811"/>
              <a:gd name="connsiteX2" fmla="*/ 126527 w 133166"/>
              <a:gd name="connsiteY2" fmla="*/ 3605333 h 3610811"/>
              <a:gd name="connsiteX3" fmla="*/ 0 w 133166"/>
              <a:gd name="connsiteY3" fmla="*/ 3299871 h 3610811"/>
              <a:gd name="connsiteX4" fmla="*/ 0 w 133166"/>
              <a:gd name="connsiteY4" fmla="*/ 310939 h 3610811"/>
              <a:gd name="connsiteX5" fmla="*/ 126527 w 133166"/>
              <a:gd name="connsiteY5" fmla="*/ 5478 h 3610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3166" h="3610811">
                <a:moveTo>
                  <a:pt x="133166" y="0"/>
                </a:moveTo>
                <a:lnTo>
                  <a:pt x="133166" y="3610811"/>
                </a:lnTo>
                <a:lnTo>
                  <a:pt x="126527" y="3605333"/>
                </a:lnTo>
                <a:cubicBezTo>
                  <a:pt x="48352" y="3527158"/>
                  <a:pt x="0" y="3419161"/>
                  <a:pt x="0" y="3299871"/>
                </a:cubicBezTo>
                <a:lnTo>
                  <a:pt x="0" y="310939"/>
                </a:lnTo>
                <a:cubicBezTo>
                  <a:pt x="0" y="191649"/>
                  <a:pt x="48352" y="83652"/>
                  <a:pt x="126527" y="5478"/>
                </a:cubicBezTo>
                <a:close/>
              </a:path>
            </a:pathLst>
          </a:custGeom>
          <a:solidFill>
            <a:srgbClr val="FF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360000" rtlCol="0" anchor="t">
            <a:noAutofit/>
          </a:bodyPr>
          <a:lstStyle/>
          <a:p>
            <a:endParaRPr lang="de-DE" dirty="0">
              <a:latin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30054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37760D-DDF6-F1E0-93C7-98B64AE88C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6170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37760D-DDF6-F1E0-93C7-98B64AE88C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Picture 33">
            <a:extLst>
              <a:ext uri="{FF2B5EF4-FFF2-40B4-BE49-F238E27FC236}">
                <a16:creationId xmlns:a16="http://schemas.microsoft.com/office/drawing/2014/main" id="{2AB35CD2-D0F5-9203-9F19-833C1D44C9B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928"/>
          <a:stretch/>
        </p:blipFill>
        <p:spPr>
          <a:xfrm>
            <a:off x="2254926" y="1154099"/>
            <a:ext cx="7332955" cy="3851999"/>
          </a:xfrm>
          <a:prstGeom prst="roundRect">
            <a:avLst>
              <a:gd name="adj" fmla="val 11215"/>
            </a:avLst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89E4DB0-8577-F373-DB1C-EF2FFF08A2E8}"/>
              </a:ext>
            </a:extLst>
          </p:cNvPr>
          <p:cNvSpPr txBox="1"/>
          <p:nvPr/>
        </p:nvSpPr>
        <p:spPr>
          <a:xfrm>
            <a:off x="2586798" y="1505431"/>
            <a:ext cx="4744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>
                <a:solidFill>
                  <a:srgbClr val="C0A900"/>
                </a:solidFill>
                <a:latin typeface="Lato" panose="020F0502020204030203" pitchFamily="34" charset="0"/>
              </a:rPr>
              <a:t>Going to bed early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CFA0A36-A681-7ED1-69AC-91C9D18F991A}"/>
              </a:ext>
            </a:extLst>
          </p:cNvPr>
          <p:cNvGrpSpPr/>
          <p:nvPr/>
        </p:nvGrpSpPr>
        <p:grpSpPr>
          <a:xfrm>
            <a:off x="8860756" y="4599633"/>
            <a:ext cx="330190" cy="70279"/>
            <a:chOff x="7686950" y="1440238"/>
            <a:chExt cx="479262" cy="102008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FF1D3622-6DA1-3BDF-320F-C24A1BCBF265}"/>
                </a:ext>
              </a:extLst>
            </p:cNvPr>
            <p:cNvSpPr/>
            <p:nvPr/>
          </p:nvSpPr>
          <p:spPr>
            <a:xfrm>
              <a:off x="7686950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rgbClr val="0D1117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B162CC4-0A35-C221-74BA-C6F6DCC5D226}"/>
                </a:ext>
              </a:extLst>
            </p:cNvPr>
            <p:cNvSpPr/>
            <p:nvPr/>
          </p:nvSpPr>
          <p:spPr>
            <a:xfrm>
              <a:off x="7875577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rgbClr val="0D1117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73AE894-BDB1-970C-8AEA-789FF5D26F11}"/>
                </a:ext>
              </a:extLst>
            </p:cNvPr>
            <p:cNvSpPr/>
            <p:nvPr/>
          </p:nvSpPr>
          <p:spPr>
            <a:xfrm>
              <a:off x="8064204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rgbClr val="0D1117"/>
                </a:solidFill>
              </a:endParaRPr>
            </a:p>
          </p:txBody>
        </p: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157773B3-F038-DA60-A06C-784BBCB4488F}"/>
              </a:ext>
            </a:extLst>
          </p:cNvPr>
          <p:cNvSpPr/>
          <p:nvPr/>
        </p:nvSpPr>
        <p:spPr>
          <a:xfrm>
            <a:off x="3156240" y="3398385"/>
            <a:ext cx="227867" cy="22754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endParaRPr lang="de-DE" sz="1400">
              <a:solidFill>
                <a:srgbClr val="0D1117"/>
              </a:solidFill>
              <a:latin typeface="Lato" panose="020F0502020204030203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0879461-625B-8303-7D3C-D337133556D0}"/>
              </a:ext>
            </a:extLst>
          </p:cNvPr>
          <p:cNvSpPr/>
          <p:nvPr/>
        </p:nvSpPr>
        <p:spPr>
          <a:xfrm>
            <a:off x="4039984" y="3398385"/>
            <a:ext cx="227867" cy="22754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endParaRPr lang="de-DE" sz="1400">
              <a:solidFill>
                <a:srgbClr val="0D1117"/>
              </a:solidFill>
              <a:latin typeface="Lato" panose="020F050202020403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51D45B9-6EB0-D7AC-8E8A-51DDD3A82F55}"/>
              </a:ext>
            </a:extLst>
          </p:cNvPr>
          <p:cNvSpPr/>
          <p:nvPr/>
        </p:nvSpPr>
        <p:spPr>
          <a:xfrm>
            <a:off x="2938849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solidFill>
                  <a:srgbClr val="0D1117"/>
                </a:solidFill>
                <a:latin typeface="Lato" panose="020F0502020204030203" pitchFamily="34" charset="0"/>
              </a:rPr>
              <a:t>Sun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solidFill>
                  <a:srgbClr val="0D1117"/>
                </a:solidFill>
                <a:latin typeface="Lato" panose="020F0502020204030203" pitchFamily="34" charset="0"/>
              </a:rPr>
              <a:t>4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BE06293-ACC7-6E54-BDF3-9F49DA236576}"/>
              </a:ext>
            </a:extLst>
          </p:cNvPr>
          <p:cNvSpPr/>
          <p:nvPr/>
        </p:nvSpPr>
        <p:spPr>
          <a:xfrm>
            <a:off x="3822593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solidFill>
                  <a:srgbClr val="0D1117"/>
                </a:solidFill>
                <a:latin typeface="Lato" panose="020F0502020204030203" pitchFamily="34" charset="0"/>
              </a:rPr>
              <a:t>Mon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solidFill>
                  <a:srgbClr val="0D1117"/>
                </a:solidFill>
                <a:latin typeface="Lato" panose="020F0502020204030203" pitchFamily="34" charset="0"/>
              </a:rPr>
              <a:t>5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CA58D08-D823-E6E0-A568-6F254378163E}"/>
              </a:ext>
            </a:extLst>
          </p:cNvPr>
          <p:cNvSpPr/>
          <p:nvPr/>
        </p:nvSpPr>
        <p:spPr>
          <a:xfrm>
            <a:off x="4706340" y="2657444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solidFill>
                  <a:srgbClr val="0D1117"/>
                </a:solidFill>
                <a:latin typeface="Lato" panose="020F0502020204030203" pitchFamily="34" charset="0"/>
              </a:rPr>
              <a:t>Tue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solidFill>
                  <a:srgbClr val="0D1117"/>
                </a:solidFill>
                <a:latin typeface="Lato" panose="020F0502020204030203" pitchFamily="34" charset="0"/>
              </a:rPr>
              <a:t>6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08469C5-1717-630E-9102-DD9272C28390}"/>
              </a:ext>
            </a:extLst>
          </p:cNvPr>
          <p:cNvSpPr/>
          <p:nvPr/>
        </p:nvSpPr>
        <p:spPr>
          <a:xfrm>
            <a:off x="5590083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solidFill>
                  <a:srgbClr val="0D1117"/>
                </a:solidFill>
                <a:latin typeface="Lato" panose="020F0502020204030203" pitchFamily="34" charset="0"/>
              </a:rPr>
              <a:t>Wed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solidFill>
                  <a:srgbClr val="0D1117"/>
                </a:solidFill>
                <a:latin typeface="Lato" panose="020F0502020204030203" pitchFamily="34" charset="0"/>
              </a:rPr>
              <a:t>7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B601472-67E2-A299-8B78-21C5233C8ED1}"/>
              </a:ext>
            </a:extLst>
          </p:cNvPr>
          <p:cNvSpPr/>
          <p:nvPr/>
        </p:nvSpPr>
        <p:spPr>
          <a:xfrm>
            <a:off x="6473827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solidFill>
                  <a:srgbClr val="0D1117"/>
                </a:solidFill>
                <a:latin typeface="Lato" panose="020F0502020204030203" pitchFamily="34" charset="0"/>
              </a:rPr>
              <a:t>Thu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solidFill>
                  <a:srgbClr val="0D1117"/>
                </a:solidFill>
                <a:latin typeface="Lato" panose="020F0502020204030203" pitchFamily="34" charset="0"/>
              </a:rPr>
              <a:t>8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ADAE3E7-A686-5E8A-587D-BAD0B902642C}"/>
              </a:ext>
            </a:extLst>
          </p:cNvPr>
          <p:cNvSpPr/>
          <p:nvPr/>
        </p:nvSpPr>
        <p:spPr>
          <a:xfrm>
            <a:off x="7357571" y="2657444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solidFill>
                  <a:srgbClr val="0D1117"/>
                </a:solidFill>
                <a:latin typeface="Lato" panose="020F0502020204030203" pitchFamily="34" charset="0"/>
              </a:rPr>
              <a:t>Fri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solidFill>
                  <a:srgbClr val="0D1117"/>
                </a:solidFill>
                <a:latin typeface="Lato" panose="020F0502020204030203" pitchFamily="34" charset="0"/>
              </a:rPr>
              <a:t>9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9D4327-DC36-8563-FDB7-8D671CC4E523}"/>
              </a:ext>
            </a:extLst>
          </p:cNvPr>
          <p:cNvSpPr/>
          <p:nvPr/>
        </p:nvSpPr>
        <p:spPr>
          <a:xfrm>
            <a:off x="8241314" y="2657444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solidFill>
                  <a:srgbClr val="0D1117"/>
                </a:solidFill>
                <a:latin typeface="Lato" panose="020F0502020204030203" pitchFamily="34" charset="0"/>
              </a:rPr>
              <a:t>Sat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solidFill>
                  <a:srgbClr val="0D1117"/>
                </a:solidFill>
                <a:latin typeface="Lato" panose="020F0502020204030203" pitchFamily="34" charset="0"/>
              </a:rPr>
              <a:t>10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19DACB3E-EB4A-D5A8-ED88-469CD07B6E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54011" y="3370686"/>
            <a:ext cx="367306" cy="282949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F1B6C527-D5D5-F117-7347-0A4FBA13FD3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37755" y="3370689"/>
            <a:ext cx="367306" cy="282949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16D0F20C-0AB1-FEDC-ED1D-608097B017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05241" y="3370689"/>
            <a:ext cx="367306" cy="282949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6C1F05C4-DF1C-C672-D0AB-151504BF79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88986" y="3370689"/>
            <a:ext cx="367306" cy="282949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794334D7-C584-D05C-167A-4CFFC2F938C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621498" y="3370689"/>
            <a:ext cx="367306" cy="282949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C18F1FBC-B82E-5324-8F00-7FCC37EA5AB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694527" y="1384018"/>
            <a:ext cx="662648" cy="61216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73573ED5-A6FB-C623-F7A2-723A1BAE20F9}"/>
              </a:ext>
            </a:extLst>
          </p:cNvPr>
          <p:cNvSpPr/>
          <p:nvPr/>
        </p:nvSpPr>
        <p:spPr>
          <a:xfrm>
            <a:off x="2254927" y="1275146"/>
            <a:ext cx="133166" cy="3637556"/>
          </a:xfrm>
          <a:custGeom>
            <a:avLst/>
            <a:gdLst>
              <a:gd name="connsiteX0" fmla="*/ 133166 w 133166"/>
              <a:gd name="connsiteY0" fmla="*/ 0 h 3610811"/>
              <a:gd name="connsiteX1" fmla="*/ 133166 w 133166"/>
              <a:gd name="connsiteY1" fmla="*/ 3610811 h 3610811"/>
              <a:gd name="connsiteX2" fmla="*/ 126527 w 133166"/>
              <a:gd name="connsiteY2" fmla="*/ 3605333 h 3610811"/>
              <a:gd name="connsiteX3" fmla="*/ 0 w 133166"/>
              <a:gd name="connsiteY3" fmla="*/ 3299871 h 3610811"/>
              <a:gd name="connsiteX4" fmla="*/ 0 w 133166"/>
              <a:gd name="connsiteY4" fmla="*/ 310939 h 3610811"/>
              <a:gd name="connsiteX5" fmla="*/ 126527 w 133166"/>
              <a:gd name="connsiteY5" fmla="*/ 5478 h 3610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3166" h="3610811">
                <a:moveTo>
                  <a:pt x="133166" y="0"/>
                </a:moveTo>
                <a:lnTo>
                  <a:pt x="133166" y="3610811"/>
                </a:lnTo>
                <a:lnTo>
                  <a:pt x="126527" y="3605333"/>
                </a:lnTo>
                <a:cubicBezTo>
                  <a:pt x="48352" y="3527158"/>
                  <a:pt x="0" y="3419161"/>
                  <a:pt x="0" y="3299871"/>
                </a:cubicBezTo>
                <a:lnTo>
                  <a:pt x="0" y="310939"/>
                </a:lnTo>
                <a:cubicBezTo>
                  <a:pt x="0" y="191649"/>
                  <a:pt x="48352" y="83652"/>
                  <a:pt x="126527" y="5478"/>
                </a:cubicBezTo>
                <a:close/>
              </a:path>
            </a:pathLst>
          </a:custGeom>
          <a:solidFill>
            <a:srgbClr val="C0A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360000" rtlCol="0" anchor="t">
            <a:noAutofit/>
          </a:bodyPr>
          <a:lstStyle/>
          <a:p>
            <a:endParaRPr lang="de-DE" dirty="0">
              <a:solidFill>
                <a:srgbClr val="0D1117"/>
              </a:solidFill>
              <a:latin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15891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1DE1B5-7667-25B8-8A5C-962B5641CD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1DE1B5-7667-25B8-8A5C-962B5641C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phic 7">
            <a:extLst>
              <a:ext uri="{FF2B5EF4-FFF2-40B4-BE49-F238E27FC236}">
                <a16:creationId xmlns:a16="http://schemas.microsoft.com/office/drawing/2014/main" id="{9C9EEFAC-7434-3CE9-75CD-6AF26A1FF3F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4953" b="4975"/>
          <a:stretch/>
        </p:blipFill>
        <p:spPr>
          <a:xfrm flipH="1">
            <a:off x="2254927" y="1154098"/>
            <a:ext cx="7332955" cy="3852000"/>
          </a:xfrm>
          <a:prstGeom prst="roundRect">
            <a:avLst>
              <a:gd name="adj" fmla="val 11215"/>
            </a:avLst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F5FA8D67-6C3F-6C41-9796-8771EF97EAD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b="9928"/>
          <a:stretch/>
        </p:blipFill>
        <p:spPr>
          <a:xfrm flipH="1">
            <a:off x="2254927" y="1154099"/>
            <a:ext cx="7332955" cy="3852000"/>
          </a:xfrm>
          <a:prstGeom prst="roundRect">
            <a:avLst>
              <a:gd name="adj" fmla="val 11215"/>
            </a:avLst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0CE8F63-8D69-08AA-6329-EA3C109525B9}"/>
              </a:ext>
            </a:extLst>
          </p:cNvPr>
          <p:cNvSpPr txBox="1"/>
          <p:nvPr/>
        </p:nvSpPr>
        <p:spPr>
          <a:xfrm>
            <a:off x="2586798" y="1505431"/>
            <a:ext cx="4744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Lato" panose="020F0502020204030203" pitchFamily="34" charset="0"/>
              </a:rPr>
              <a:t>Going to bed early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45DA731-265E-785A-C22B-25DF6D37B053}"/>
              </a:ext>
            </a:extLst>
          </p:cNvPr>
          <p:cNvGrpSpPr/>
          <p:nvPr/>
        </p:nvGrpSpPr>
        <p:grpSpPr>
          <a:xfrm>
            <a:off x="8860756" y="4599633"/>
            <a:ext cx="330190" cy="70279"/>
            <a:chOff x="7686950" y="1440238"/>
            <a:chExt cx="479262" cy="102008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23D7299-5168-512A-9B56-800FE7DAAE55}"/>
                </a:ext>
              </a:extLst>
            </p:cNvPr>
            <p:cNvSpPr/>
            <p:nvPr/>
          </p:nvSpPr>
          <p:spPr>
            <a:xfrm>
              <a:off x="7686950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B8F60CD3-8EFC-B24A-315D-F0F6EB6D20AD}"/>
                </a:ext>
              </a:extLst>
            </p:cNvPr>
            <p:cNvSpPr/>
            <p:nvPr/>
          </p:nvSpPr>
          <p:spPr>
            <a:xfrm>
              <a:off x="7875577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A32AEDAE-DBA3-8A52-9EB9-0B0F72AF64CF}"/>
                </a:ext>
              </a:extLst>
            </p:cNvPr>
            <p:cNvSpPr/>
            <p:nvPr/>
          </p:nvSpPr>
          <p:spPr>
            <a:xfrm>
              <a:off x="8064204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8" name="Oval 37">
            <a:extLst>
              <a:ext uri="{FF2B5EF4-FFF2-40B4-BE49-F238E27FC236}">
                <a16:creationId xmlns:a16="http://schemas.microsoft.com/office/drawing/2014/main" id="{EA1C00F1-55EA-104F-CF31-B784E4E9D4FE}"/>
              </a:ext>
            </a:extLst>
          </p:cNvPr>
          <p:cNvSpPr/>
          <p:nvPr/>
        </p:nvSpPr>
        <p:spPr>
          <a:xfrm>
            <a:off x="3156240" y="3398385"/>
            <a:ext cx="227867" cy="227549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endParaRPr lang="de-DE" sz="1400">
              <a:latin typeface="Lato" panose="020F0502020204030203" pitchFamily="34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E2FE3BA6-1EDF-6F71-40B2-10E89B5ADCAD}"/>
              </a:ext>
            </a:extLst>
          </p:cNvPr>
          <p:cNvSpPr/>
          <p:nvPr/>
        </p:nvSpPr>
        <p:spPr>
          <a:xfrm>
            <a:off x="4039984" y="3398385"/>
            <a:ext cx="227867" cy="227549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endParaRPr lang="de-DE" sz="1400">
              <a:latin typeface="Lato" panose="020F0502020204030203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ADDA636-7675-DB14-D986-BF0FBD2D8AE7}"/>
              </a:ext>
            </a:extLst>
          </p:cNvPr>
          <p:cNvSpPr/>
          <p:nvPr/>
        </p:nvSpPr>
        <p:spPr>
          <a:xfrm>
            <a:off x="2938849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Sun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4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ED7C594-F0A3-A455-9F5B-F855015B78A7}"/>
              </a:ext>
            </a:extLst>
          </p:cNvPr>
          <p:cNvSpPr/>
          <p:nvPr/>
        </p:nvSpPr>
        <p:spPr>
          <a:xfrm>
            <a:off x="3822593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Mon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5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214F8C5-E51A-DFF8-7DC6-66596D410E5B}"/>
              </a:ext>
            </a:extLst>
          </p:cNvPr>
          <p:cNvSpPr/>
          <p:nvPr/>
        </p:nvSpPr>
        <p:spPr>
          <a:xfrm>
            <a:off x="4706340" y="2657444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Tue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6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0DFC197-BC43-D4BE-1D10-B8EF3407415F}"/>
              </a:ext>
            </a:extLst>
          </p:cNvPr>
          <p:cNvSpPr/>
          <p:nvPr/>
        </p:nvSpPr>
        <p:spPr>
          <a:xfrm>
            <a:off x="5590083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Wed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7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FD25D42-A774-FF6B-DB94-8B57FCE646B6}"/>
              </a:ext>
            </a:extLst>
          </p:cNvPr>
          <p:cNvSpPr/>
          <p:nvPr/>
        </p:nvSpPr>
        <p:spPr>
          <a:xfrm>
            <a:off x="6473827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Thu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8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E0FA752-7A8F-2750-290B-F6E38FBC90E5}"/>
              </a:ext>
            </a:extLst>
          </p:cNvPr>
          <p:cNvSpPr/>
          <p:nvPr/>
        </p:nvSpPr>
        <p:spPr>
          <a:xfrm>
            <a:off x="7357571" y="2657444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Fri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9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64B9C71-848C-6B6C-0A65-852CC5644526}"/>
              </a:ext>
            </a:extLst>
          </p:cNvPr>
          <p:cNvSpPr/>
          <p:nvPr/>
        </p:nvSpPr>
        <p:spPr>
          <a:xfrm>
            <a:off x="8241314" y="2657444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Sat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10</a:t>
            </a:r>
          </a:p>
        </p:txBody>
      </p:sp>
      <p:pic>
        <p:nvPicPr>
          <p:cNvPr id="47" name="Graphic 46">
            <a:extLst>
              <a:ext uri="{FF2B5EF4-FFF2-40B4-BE49-F238E27FC236}">
                <a16:creationId xmlns:a16="http://schemas.microsoft.com/office/drawing/2014/main" id="{6C7FACF8-F0F4-7D3E-8B0C-B98A07DB3B3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54011" y="3370686"/>
            <a:ext cx="367306" cy="282949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21F0B41B-9E1C-FBD1-78F4-9F926BF0800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737755" y="3370689"/>
            <a:ext cx="367306" cy="282949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65B4B400-A49D-6E81-5261-C9CE2DFA235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505241" y="3370689"/>
            <a:ext cx="367306" cy="282949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5CA1606C-34A3-76CF-C3A6-A6DA90C6F44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388986" y="3370689"/>
            <a:ext cx="367306" cy="282949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2FBA99AC-A696-B7A8-9868-3D204C0BF76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621498" y="3370689"/>
            <a:ext cx="367306" cy="282949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20AD7104-1F39-7FF6-A8CE-140F65FB1ED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694527" y="1384018"/>
            <a:ext cx="662648" cy="612160"/>
          </a:xfrm>
          <a:prstGeom prst="rect">
            <a:avLst/>
          </a:prstGeom>
        </p:spPr>
      </p:pic>
      <p:sp>
        <p:nvSpPr>
          <p:cNvPr id="3" name="Freeform: Shape 2">
            <a:extLst>
              <a:ext uri="{FF2B5EF4-FFF2-40B4-BE49-F238E27FC236}">
                <a16:creationId xmlns:a16="http://schemas.microsoft.com/office/drawing/2014/main" id="{A0F6FA88-2D62-003A-978B-99F2CB48EE29}"/>
              </a:ext>
            </a:extLst>
          </p:cNvPr>
          <p:cNvSpPr/>
          <p:nvPr/>
        </p:nvSpPr>
        <p:spPr>
          <a:xfrm>
            <a:off x="2254927" y="1275146"/>
            <a:ext cx="133166" cy="3637556"/>
          </a:xfrm>
          <a:custGeom>
            <a:avLst/>
            <a:gdLst>
              <a:gd name="connsiteX0" fmla="*/ 133166 w 133166"/>
              <a:gd name="connsiteY0" fmla="*/ 0 h 3610811"/>
              <a:gd name="connsiteX1" fmla="*/ 133166 w 133166"/>
              <a:gd name="connsiteY1" fmla="*/ 3610811 h 3610811"/>
              <a:gd name="connsiteX2" fmla="*/ 126527 w 133166"/>
              <a:gd name="connsiteY2" fmla="*/ 3605333 h 3610811"/>
              <a:gd name="connsiteX3" fmla="*/ 0 w 133166"/>
              <a:gd name="connsiteY3" fmla="*/ 3299871 h 3610811"/>
              <a:gd name="connsiteX4" fmla="*/ 0 w 133166"/>
              <a:gd name="connsiteY4" fmla="*/ 310939 h 3610811"/>
              <a:gd name="connsiteX5" fmla="*/ 126527 w 133166"/>
              <a:gd name="connsiteY5" fmla="*/ 5478 h 3610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3166" h="3610811">
                <a:moveTo>
                  <a:pt x="133166" y="0"/>
                </a:moveTo>
                <a:lnTo>
                  <a:pt x="133166" y="3610811"/>
                </a:lnTo>
                <a:lnTo>
                  <a:pt x="126527" y="3605333"/>
                </a:lnTo>
                <a:cubicBezTo>
                  <a:pt x="48352" y="3527158"/>
                  <a:pt x="0" y="3419161"/>
                  <a:pt x="0" y="3299871"/>
                </a:cubicBezTo>
                <a:lnTo>
                  <a:pt x="0" y="310939"/>
                </a:lnTo>
                <a:cubicBezTo>
                  <a:pt x="0" y="191649"/>
                  <a:pt x="48352" y="83652"/>
                  <a:pt x="126527" y="5478"/>
                </a:cubicBezTo>
                <a:close/>
              </a:path>
            </a:pathLst>
          </a:custGeom>
          <a:solidFill>
            <a:srgbClr val="FF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360000" rtlCol="0" anchor="t">
            <a:noAutofit/>
          </a:bodyPr>
          <a:lstStyle/>
          <a:p>
            <a:endParaRPr lang="de-DE" dirty="0">
              <a:latin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43379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37760D-DDF6-F1E0-93C7-98B64AE88C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2880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5DCBE29-02B4-0BF5-85EB-59203088F428}"/>
              </a:ext>
            </a:extLst>
          </p:cNvPr>
          <p:cNvSpPr/>
          <p:nvPr/>
        </p:nvSpPr>
        <p:spPr>
          <a:xfrm>
            <a:off x="2254927" y="1154098"/>
            <a:ext cx="7332956" cy="3852908"/>
          </a:xfrm>
          <a:prstGeom prst="roundRect">
            <a:avLst>
              <a:gd name="adj" fmla="val 11212"/>
            </a:avLst>
          </a:prstGeom>
          <a:solidFill>
            <a:srgbClr val="D7D7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tlCol="0" anchor="t"/>
          <a:lstStyle/>
          <a:p>
            <a:endParaRPr lang="de-DE" dirty="0">
              <a:latin typeface="Lato" panose="020F0502020204030203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1D8A361-BA0D-71C6-BF3F-3171C990EF44}"/>
              </a:ext>
            </a:extLst>
          </p:cNvPr>
          <p:cNvSpPr txBox="1"/>
          <p:nvPr/>
        </p:nvSpPr>
        <p:spPr>
          <a:xfrm>
            <a:off x="8776584" y="1551597"/>
            <a:ext cx="49984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D1117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75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9E4DB0-8577-F373-DB1C-EF2FFF08A2E8}"/>
              </a:ext>
            </a:extLst>
          </p:cNvPr>
          <p:cNvSpPr txBox="1"/>
          <p:nvPr/>
        </p:nvSpPr>
        <p:spPr>
          <a:xfrm>
            <a:off x="2586798" y="1505431"/>
            <a:ext cx="4744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>
                <a:solidFill>
                  <a:srgbClr val="0D1117"/>
                </a:solidFill>
                <a:latin typeface="Lato" panose="020F0502020204030203" pitchFamily="34" charset="0"/>
              </a:rPr>
              <a:t>Going to bed early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CFA0A36-A681-7ED1-69AC-91C9D18F991A}"/>
              </a:ext>
            </a:extLst>
          </p:cNvPr>
          <p:cNvGrpSpPr/>
          <p:nvPr/>
        </p:nvGrpSpPr>
        <p:grpSpPr>
          <a:xfrm>
            <a:off x="8860756" y="4599633"/>
            <a:ext cx="330190" cy="70279"/>
            <a:chOff x="7686950" y="1440238"/>
            <a:chExt cx="479262" cy="102008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FF1D3622-6DA1-3BDF-320F-C24A1BCBF265}"/>
                </a:ext>
              </a:extLst>
            </p:cNvPr>
            <p:cNvSpPr/>
            <p:nvPr/>
          </p:nvSpPr>
          <p:spPr>
            <a:xfrm>
              <a:off x="7686950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rgbClr val="0D1117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B162CC4-0A35-C221-74BA-C6F6DCC5D226}"/>
                </a:ext>
              </a:extLst>
            </p:cNvPr>
            <p:cNvSpPr/>
            <p:nvPr/>
          </p:nvSpPr>
          <p:spPr>
            <a:xfrm>
              <a:off x="7875577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rgbClr val="0D1117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73AE894-BDB1-970C-8AEA-789FF5D26F11}"/>
                </a:ext>
              </a:extLst>
            </p:cNvPr>
            <p:cNvSpPr/>
            <p:nvPr/>
          </p:nvSpPr>
          <p:spPr>
            <a:xfrm>
              <a:off x="8064204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rgbClr val="0D1117"/>
                </a:solidFill>
              </a:endParaRPr>
            </a:p>
          </p:txBody>
        </p:sp>
      </p:grpSp>
      <p:sp>
        <p:nvSpPr>
          <p:cNvPr id="30" name="Arc 29">
            <a:extLst>
              <a:ext uri="{FF2B5EF4-FFF2-40B4-BE49-F238E27FC236}">
                <a16:creationId xmlns:a16="http://schemas.microsoft.com/office/drawing/2014/main" id="{9513ED43-C75A-51C4-B95E-4FCCE308528D}"/>
              </a:ext>
            </a:extLst>
          </p:cNvPr>
          <p:cNvSpPr/>
          <p:nvPr/>
        </p:nvSpPr>
        <p:spPr>
          <a:xfrm>
            <a:off x="8733058" y="1397304"/>
            <a:ext cx="585586" cy="585586"/>
          </a:xfrm>
          <a:prstGeom prst="arc">
            <a:avLst>
              <a:gd name="adj1" fmla="val 11104360"/>
              <a:gd name="adj2" fmla="val 5226579"/>
            </a:avLst>
          </a:prstGeom>
          <a:noFill/>
          <a:ln w="66675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>
              <a:latin typeface="Lato" panose="020F0502020204030203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E0513B1-9D3F-97C4-51DE-3E912335CF23}"/>
              </a:ext>
            </a:extLst>
          </p:cNvPr>
          <p:cNvSpPr/>
          <p:nvPr/>
        </p:nvSpPr>
        <p:spPr>
          <a:xfrm>
            <a:off x="3156240" y="3398385"/>
            <a:ext cx="227867" cy="22754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endParaRPr lang="de-DE" sz="1400">
              <a:solidFill>
                <a:srgbClr val="0D1117"/>
              </a:solidFill>
              <a:latin typeface="Lato" panose="020F0502020204030203" pitchFamily="34" charset="0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5A6A5D5A-DAFD-36B4-9E97-DE47534E851E}"/>
              </a:ext>
            </a:extLst>
          </p:cNvPr>
          <p:cNvSpPr/>
          <p:nvPr/>
        </p:nvSpPr>
        <p:spPr>
          <a:xfrm>
            <a:off x="4039984" y="3398385"/>
            <a:ext cx="227867" cy="22754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endParaRPr lang="de-DE" sz="1400">
              <a:solidFill>
                <a:srgbClr val="0D1117"/>
              </a:solidFill>
              <a:latin typeface="Lato" panose="020F0502020204030203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CA393DE-D020-D480-846A-9BDA222D4A81}"/>
              </a:ext>
            </a:extLst>
          </p:cNvPr>
          <p:cNvSpPr/>
          <p:nvPr/>
        </p:nvSpPr>
        <p:spPr>
          <a:xfrm>
            <a:off x="2938849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solidFill>
                  <a:srgbClr val="0D1117"/>
                </a:solidFill>
                <a:latin typeface="Lato" panose="020F0502020204030203" pitchFamily="34" charset="0"/>
              </a:rPr>
              <a:t>Sun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solidFill>
                  <a:srgbClr val="0D1117"/>
                </a:solidFill>
                <a:latin typeface="Lato" panose="020F0502020204030203" pitchFamily="34" charset="0"/>
              </a:rPr>
              <a:t>4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30D36DE-0EDA-3101-5A08-EE69A12D2D90}"/>
              </a:ext>
            </a:extLst>
          </p:cNvPr>
          <p:cNvSpPr/>
          <p:nvPr/>
        </p:nvSpPr>
        <p:spPr>
          <a:xfrm>
            <a:off x="3822593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solidFill>
                  <a:srgbClr val="0D1117"/>
                </a:solidFill>
                <a:latin typeface="Lato" panose="020F0502020204030203" pitchFamily="34" charset="0"/>
              </a:rPr>
              <a:t>Mon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solidFill>
                  <a:srgbClr val="0D1117"/>
                </a:solidFill>
                <a:latin typeface="Lato" panose="020F0502020204030203" pitchFamily="34" charset="0"/>
              </a:rPr>
              <a:t>5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75881DC-50C1-2498-8C32-325E6B7B3448}"/>
              </a:ext>
            </a:extLst>
          </p:cNvPr>
          <p:cNvSpPr/>
          <p:nvPr/>
        </p:nvSpPr>
        <p:spPr>
          <a:xfrm>
            <a:off x="4706340" y="2657444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solidFill>
                  <a:srgbClr val="0D1117"/>
                </a:solidFill>
                <a:latin typeface="Lato" panose="020F0502020204030203" pitchFamily="34" charset="0"/>
              </a:rPr>
              <a:t>Tue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solidFill>
                  <a:srgbClr val="0D1117"/>
                </a:solidFill>
                <a:latin typeface="Lato" panose="020F0502020204030203" pitchFamily="34" charset="0"/>
              </a:rPr>
              <a:t>6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9AA36BA-DF81-1D7B-0A78-9355BAD5EB5E}"/>
              </a:ext>
            </a:extLst>
          </p:cNvPr>
          <p:cNvSpPr/>
          <p:nvPr/>
        </p:nvSpPr>
        <p:spPr>
          <a:xfrm>
            <a:off x="5590083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solidFill>
                  <a:srgbClr val="0D1117"/>
                </a:solidFill>
                <a:latin typeface="Lato" panose="020F0502020204030203" pitchFamily="34" charset="0"/>
              </a:rPr>
              <a:t>Wed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solidFill>
                  <a:srgbClr val="0D1117"/>
                </a:solidFill>
                <a:latin typeface="Lato" panose="020F0502020204030203" pitchFamily="34" charset="0"/>
              </a:rPr>
              <a:t>7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A90C4AB-5193-0E2D-85C1-05580D436869}"/>
              </a:ext>
            </a:extLst>
          </p:cNvPr>
          <p:cNvSpPr/>
          <p:nvPr/>
        </p:nvSpPr>
        <p:spPr>
          <a:xfrm>
            <a:off x="6473827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solidFill>
                  <a:srgbClr val="0D1117"/>
                </a:solidFill>
                <a:latin typeface="Lato" panose="020F0502020204030203" pitchFamily="34" charset="0"/>
              </a:rPr>
              <a:t>Thu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solidFill>
                  <a:srgbClr val="0D1117"/>
                </a:solidFill>
                <a:latin typeface="Lato" panose="020F0502020204030203" pitchFamily="34" charset="0"/>
              </a:rPr>
              <a:t>8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DE93D6F-5E04-15A2-0CF7-F628B607077F}"/>
              </a:ext>
            </a:extLst>
          </p:cNvPr>
          <p:cNvSpPr/>
          <p:nvPr/>
        </p:nvSpPr>
        <p:spPr>
          <a:xfrm>
            <a:off x="7357571" y="2657444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solidFill>
                  <a:srgbClr val="0D1117"/>
                </a:solidFill>
                <a:latin typeface="Lato" panose="020F0502020204030203" pitchFamily="34" charset="0"/>
              </a:rPr>
              <a:t>Fri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solidFill>
                  <a:srgbClr val="0D1117"/>
                </a:solidFill>
                <a:latin typeface="Lato" panose="020F0502020204030203" pitchFamily="34" charset="0"/>
              </a:rPr>
              <a:t>9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C68CAB3-CEE2-F41D-A009-A3080C55D438}"/>
              </a:ext>
            </a:extLst>
          </p:cNvPr>
          <p:cNvSpPr/>
          <p:nvPr/>
        </p:nvSpPr>
        <p:spPr>
          <a:xfrm>
            <a:off x="8241314" y="2657444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solidFill>
                  <a:srgbClr val="0D1117"/>
                </a:solidFill>
                <a:latin typeface="Lato" panose="020F0502020204030203" pitchFamily="34" charset="0"/>
              </a:rPr>
              <a:t>Sat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solidFill>
                  <a:srgbClr val="0D1117"/>
                </a:solidFill>
                <a:latin typeface="Lato" panose="020F0502020204030203" pitchFamily="34" charset="0"/>
              </a:rPr>
              <a:t>10</a:t>
            </a:r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F5291207-6AB9-BE29-87CE-9FEC49E7212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54011" y="3370686"/>
            <a:ext cx="367306" cy="282949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59EBF1B5-36AA-1E8B-9AB6-A70E94FFAE5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37755" y="3370689"/>
            <a:ext cx="367306" cy="28294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595605D6-E725-CAEF-F47C-9DF1711742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505241" y="3370689"/>
            <a:ext cx="367306" cy="282949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1B1E01AC-0301-CFBC-F99A-891E951B07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88986" y="3370689"/>
            <a:ext cx="367306" cy="282949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C4C517BB-0CF1-FAEB-8471-154C1B3766C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21498" y="3370689"/>
            <a:ext cx="367306" cy="282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833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37760D-DDF6-F1E0-93C7-98B64AE88C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37760D-DDF6-F1E0-93C7-98B64AE88C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AE7830B4-9351-E294-8DFB-03BE391F513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9928"/>
          <a:stretch/>
        </p:blipFill>
        <p:spPr>
          <a:xfrm flipH="1">
            <a:off x="2254926" y="1154099"/>
            <a:ext cx="7332955" cy="3851999"/>
          </a:xfrm>
          <a:prstGeom prst="roundRect">
            <a:avLst>
              <a:gd name="adj" fmla="val 11215"/>
            </a:avLst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89E4DB0-8577-F373-DB1C-EF2FFF08A2E8}"/>
              </a:ext>
            </a:extLst>
          </p:cNvPr>
          <p:cNvSpPr txBox="1"/>
          <p:nvPr/>
        </p:nvSpPr>
        <p:spPr>
          <a:xfrm>
            <a:off x="2586798" y="1505431"/>
            <a:ext cx="4744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>
                <a:solidFill>
                  <a:srgbClr val="C0A900"/>
                </a:solidFill>
                <a:latin typeface="Lato" panose="020F0502020204030203" pitchFamily="34" charset="0"/>
              </a:rPr>
              <a:t>Going to bed early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CFA0A36-A681-7ED1-69AC-91C9D18F991A}"/>
              </a:ext>
            </a:extLst>
          </p:cNvPr>
          <p:cNvGrpSpPr/>
          <p:nvPr/>
        </p:nvGrpSpPr>
        <p:grpSpPr>
          <a:xfrm>
            <a:off x="8860756" y="4599633"/>
            <a:ext cx="330190" cy="70279"/>
            <a:chOff x="7686950" y="1440238"/>
            <a:chExt cx="479262" cy="102008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FF1D3622-6DA1-3BDF-320F-C24A1BCBF265}"/>
                </a:ext>
              </a:extLst>
            </p:cNvPr>
            <p:cNvSpPr/>
            <p:nvPr/>
          </p:nvSpPr>
          <p:spPr>
            <a:xfrm>
              <a:off x="7686950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rgbClr val="0D1117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B162CC4-0A35-C221-74BA-C6F6DCC5D226}"/>
                </a:ext>
              </a:extLst>
            </p:cNvPr>
            <p:cNvSpPr/>
            <p:nvPr/>
          </p:nvSpPr>
          <p:spPr>
            <a:xfrm>
              <a:off x="7875577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rgbClr val="0D1117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73AE894-BDB1-970C-8AEA-789FF5D26F11}"/>
                </a:ext>
              </a:extLst>
            </p:cNvPr>
            <p:cNvSpPr/>
            <p:nvPr/>
          </p:nvSpPr>
          <p:spPr>
            <a:xfrm>
              <a:off x="8064204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rgbClr val="0D1117"/>
                </a:solidFill>
              </a:endParaRPr>
            </a:p>
          </p:txBody>
        </p: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157773B3-F038-DA60-A06C-784BBCB4488F}"/>
              </a:ext>
            </a:extLst>
          </p:cNvPr>
          <p:cNvSpPr/>
          <p:nvPr/>
        </p:nvSpPr>
        <p:spPr>
          <a:xfrm>
            <a:off x="3156240" y="3398385"/>
            <a:ext cx="227867" cy="22754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endParaRPr lang="de-DE" sz="1400">
              <a:solidFill>
                <a:srgbClr val="0D1117"/>
              </a:solidFill>
              <a:latin typeface="Lato" panose="020F0502020204030203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0879461-625B-8303-7D3C-D337133556D0}"/>
              </a:ext>
            </a:extLst>
          </p:cNvPr>
          <p:cNvSpPr/>
          <p:nvPr/>
        </p:nvSpPr>
        <p:spPr>
          <a:xfrm>
            <a:off x="4039984" y="3398385"/>
            <a:ext cx="227867" cy="22754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endParaRPr lang="de-DE" sz="1400">
              <a:solidFill>
                <a:srgbClr val="0D1117"/>
              </a:solidFill>
              <a:latin typeface="Lato" panose="020F050202020403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51D45B9-6EB0-D7AC-8E8A-51DDD3A82F55}"/>
              </a:ext>
            </a:extLst>
          </p:cNvPr>
          <p:cNvSpPr/>
          <p:nvPr/>
        </p:nvSpPr>
        <p:spPr>
          <a:xfrm>
            <a:off x="2938849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solidFill>
                  <a:srgbClr val="0D1117"/>
                </a:solidFill>
                <a:latin typeface="Lato" panose="020F0502020204030203" pitchFamily="34" charset="0"/>
              </a:rPr>
              <a:t>Sun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solidFill>
                  <a:srgbClr val="0D1117"/>
                </a:solidFill>
                <a:latin typeface="Lato" panose="020F0502020204030203" pitchFamily="34" charset="0"/>
              </a:rPr>
              <a:t>4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BE06293-ACC7-6E54-BDF3-9F49DA236576}"/>
              </a:ext>
            </a:extLst>
          </p:cNvPr>
          <p:cNvSpPr/>
          <p:nvPr/>
        </p:nvSpPr>
        <p:spPr>
          <a:xfrm>
            <a:off x="3822593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solidFill>
                  <a:srgbClr val="0D1117"/>
                </a:solidFill>
                <a:latin typeface="Lato" panose="020F0502020204030203" pitchFamily="34" charset="0"/>
              </a:rPr>
              <a:t>Mon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solidFill>
                  <a:srgbClr val="0D1117"/>
                </a:solidFill>
                <a:latin typeface="Lato" panose="020F0502020204030203" pitchFamily="34" charset="0"/>
              </a:rPr>
              <a:t>5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CA58D08-D823-E6E0-A568-6F254378163E}"/>
              </a:ext>
            </a:extLst>
          </p:cNvPr>
          <p:cNvSpPr/>
          <p:nvPr/>
        </p:nvSpPr>
        <p:spPr>
          <a:xfrm>
            <a:off x="4706340" y="2657444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solidFill>
                  <a:srgbClr val="0D1117"/>
                </a:solidFill>
                <a:latin typeface="Lato" panose="020F0502020204030203" pitchFamily="34" charset="0"/>
              </a:rPr>
              <a:t>Tue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solidFill>
                  <a:srgbClr val="0D1117"/>
                </a:solidFill>
                <a:latin typeface="Lato" panose="020F0502020204030203" pitchFamily="34" charset="0"/>
              </a:rPr>
              <a:t>6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08469C5-1717-630E-9102-DD9272C28390}"/>
              </a:ext>
            </a:extLst>
          </p:cNvPr>
          <p:cNvSpPr/>
          <p:nvPr/>
        </p:nvSpPr>
        <p:spPr>
          <a:xfrm>
            <a:off x="5590083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solidFill>
                  <a:srgbClr val="0D1117"/>
                </a:solidFill>
                <a:latin typeface="Lato" panose="020F0502020204030203" pitchFamily="34" charset="0"/>
              </a:rPr>
              <a:t>Wed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solidFill>
                  <a:srgbClr val="0D1117"/>
                </a:solidFill>
                <a:latin typeface="Lato" panose="020F0502020204030203" pitchFamily="34" charset="0"/>
              </a:rPr>
              <a:t>7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B601472-67E2-A299-8B78-21C5233C8ED1}"/>
              </a:ext>
            </a:extLst>
          </p:cNvPr>
          <p:cNvSpPr/>
          <p:nvPr/>
        </p:nvSpPr>
        <p:spPr>
          <a:xfrm>
            <a:off x="6473827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solidFill>
                  <a:srgbClr val="0D1117"/>
                </a:solidFill>
                <a:latin typeface="Lato" panose="020F0502020204030203" pitchFamily="34" charset="0"/>
              </a:rPr>
              <a:t>Thu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solidFill>
                  <a:srgbClr val="0D1117"/>
                </a:solidFill>
                <a:latin typeface="Lato" panose="020F0502020204030203" pitchFamily="34" charset="0"/>
              </a:rPr>
              <a:t>8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ADAE3E7-A686-5E8A-587D-BAD0B902642C}"/>
              </a:ext>
            </a:extLst>
          </p:cNvPr>
          <p:cNvSpPr/>
          <p:nvPr/>
        </p:nvSpPr>
        <p:spPr>
          <a:xfrm>
            <a:off x="7357571" y="2657444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solidFill>
                  <a:srgbClr val="0D1117"/>
                </a:solidFill>
                <a:latin typeface="Lato" panose="020F0502020204030203" pitchFamily="34" charset="0"/>
              </a:rPr>
              <a:t>Fri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solidFill>
                  <a:srgbClr val="0D1117"/>
                </a:solidFill>
                <a:latin typeface="Lato" panose="020F0502020204030203" pitchFamily="34" charset="0"/>
              </a:rPr>
              <a:t>9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9D4327-DC36-8563-FDB7-8D671CC4E523}"/>
              </a:ext>
            </a:extLst>
          </p:cNvPr>
          <p:cNvSpPr/>
          <p:nvPr/>
        </p:nvSpPr>
        <p:spPr>
          <a:xfrm>
            <a:off x="8241314" y="2657444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solidFill>
                  <a:srgbClr val="0D1117"/>
                </a:solidFill>
                <a:latin typeface="Lato" panose="020F0502020204030203" pitchFamily="34" charset="0"/>
              </a:rPr>
              <a:t>Sat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solidFill>
                  <a:srgbClr val="0D1117"/>
                </a:solidFill>
                <a:latin typeface="Lato" panose="020F0502020204030203" pitchFamily="34" charset="0"/>
              </a:rPr>
              <a:t>10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19DACB3E-EB4A-D5A8-ED88-469CD07B6E5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54011" y="3370686"/>
            <a:ext cx="367306" cy="282949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F1B6C527-D5D5-F117-7347-0A4FBA13FD3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737755" y="3370689"/>
            <a:ext cx="367306" cy="282949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16D0F20C-0AB1-FEDC-ED1D-608097B0178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505241" y="3370689"/>
            <a:ext cx="367306" cy="282949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6C1F05C4-DF1C-C672-D0AB-151504BF790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88986" y="3370689"/>
            <a:ext cx="367306" cy="282949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794334D7-C584-D05C-167A-4CFFC2F938C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21498" y="3370689"/>
            <a:ext cx="367306" cy="282949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C18F1FBC-B82E-5324-8F00-7FCC37EA5AB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694527" y="1384018"/>
            <a:ext cx="662648" cy="612160"/>
          </a:xfrm>
          <a:prstGeom prst="rect">
            <a:avLst/>
          </a:prstGeom>
        </p:spPr>
      </p:pic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73573ED5-A6FB-C623-F7A2-723A1BAE20F9}"/>
              </a:ext>
            </a:extLst>
          </p:cNvPr>
          <p:cNvSpPr/>
          <p:nvPr/>
        </p:nvSpPr>
        <p:spPr>
          <a:xfrm>
            <a:off x="2254927" y="1275146"/>
            <a:ext cx="133166" cy="3637556"/>
          </a:xfrm>
          <a:custGeom>
            <a:avLst/>
            <a:gdLst>
              <a:gd name="connsiteX0" fmla="*/ 133166 w 133166"/>
              <a:gd name="connsiteY0" fmla="*/ 0 h 3610811"/>
              <a:gd name="connsiteX1" fmla="*/ 133166 w 133166"/>
              <a:gd name="connsiteY1" fmla="*/ 3610811 h 3610811"/>
              <a:gd name="connsiteX2" fmla="*/ 126527 w 133166"/>
              <a:gd name="connsiteY2" fmla="*/ 3605333 h 3610811"/>
              <a:gd name="connsiteX3" fmla="*/ 0 w 133166"/>
              <a:gd name="connsiteY3" fmla="*/ 3299871 h 3610811"/>
              <a:gd name="connsiteX4" fmla="*/ 0 w 133166"/>
              <a:gd name="connsiteY4" fmla="*/ 310939 h 3610811"/>
              <a:gd name="connsiteX5" fmla="*/ 126527 w 133166"/>
              <a:gd name="connsiteY5" fmla="*/ 5478 h 3610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3166" h="3610811">
                <a:moveTo>
                  <a:pt x="133166" y="0"/>
                </a:moveTo>
                <a:lnTo>
                  <a:pt x="133166" y="3610811"/>
                </a:lnTo>
                <a:lnTo>
                  <a:pt x="126527" y="3605333"/>
                </a:lnTo>
                <a:cubicBezTo>
                  <a:pt x="48352" y="3527158"/>
                  <a:pt x="0" y="3419161"/>
                  <a:pt x="0" y="3299871"/>
                </a:cubicBezTo>
                <a:lnTo>
                  <a:pt x="0" y="310939"/>
                </a:lnTo>
                <a:cubicBezTo>
                  <a:pt x="0" y="191649"/>
                  <a:pt x="48352" y="83652"/>
                  <a:pt x="126527" y="5478"/>
                </a:cubicBezTo>
                <a:close/>
              </a:path>
            </a:pathLst>
          </a:custGeom>
          <a:solidFill>
            <a:srgbClr val="C0A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360000" rtlCol="0" anchor="t">
            <a:noAutofit/>
          </a:bodyPr>
          <a:lstStyle/>
          <a:p>
            <a:endParaRPr lang="de-DE" dirty="0">
              <a:solidFill>
                <a:srgbClr val="0D1117"/>
              </a:solidFill>
              <a:latin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01647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FF72E1-0827-8C53-8C4A-BCB8D7E116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4014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FF72E1-0827-8C53-8C4A-BCB8D7E116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262A5D0-8BA3-AC13-B213-094C44BFA1E9}"/>
              </a:ext>
            </a:extLst>
          </p:cNvPr>
          <p:cNvSpPr/>
          <p:nvPr/>
        </p:nvSpPr>
        <p:spPr>
          <a:xfrm>
            <a:off x="2254927" y="1154098"/>
            <a:ext cx="7332956" cy="3852908"/>
          </a:xfrm>
          <a:prstGeom prst="roundRect">
            <a:avLst>
              <a:gd name="adj" fmla="val 11212"/>
            </a:avLst>
          </a:prstGeom>
          <a:solidFill>
            <a:srgbClr val="1B1B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tlCol="0" anchor="t"/>
          <a:lstStyle/>
          <a:p>
            <a:endParaRPr lang="de-DE" dirty="0">
              <a:latin typeface="Lato" panose="020F0502020204030203" pitchFamily="34" charset="0"/>
            </a:endParaRPr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828786DC-878D-3084-1F47-BBE050BDA098}"/>
              </a:ext>
            </a:extLst>
          </p:cNvPr>
          <p:cNvSpPr/>
          <p:nvPr/>
        </p:nvSpPr>
        <p:spPr>
          <a:xfrm>
            <a:off x="2254927" y="4200672"/>
            <a:ext cx="6738153" cy="806334"/>
          </a:xfrm>
          <a:prstGeom prst="round2SameRect">
            <a:avLst>
              <a:gd name="adj1" fmla="val 0"/>
              <a:gd name="adj2" fmla="val 53576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4ADDA64-D3C1-52F2-D387-373C7E4BBA75}"/>
              </a:ext>
            </a:extLst>
          </p:cNvPr>
          <p:cNvSpPr txBox="1"/>
          <p:nvPr/>
        </p:nvSpPr>
        <p:spPr>
          <a:xfrm>
            <a:off x="2586798" y="1505431"/>
            <a:ext cx="4744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>
                <a:solidFill>
                  <a:schemeClr val="bg1"/>
                </a:solidFill>
                <a:latin typeface="Lato" panose="020F0502020204030203" pitchFamily="34" charset="0"/>
              </a:rPr>
              <a:t>Going to bed early</a:t>
            </a:r>
          </a:p>
        </p:txBody>
      </p:sp>
      <p:sp>
        <p:nvSpPr>
          <p:cNvPr id="2" name="Block Arc 1">
            <a:extLst>
              <a:ext uri="{FF2B5EF4-FFF2-40B4-BE49-F238E27FC236}">
                <a16:creationId xmlns:a16="http://schemas.microsoft.com/office/drawing/2014/main" id="{00087649-3433-26CE-253D-F8E4CB53BECA}"/>
              </a:ext>
            </a:extLst>
          </p:cNvPr>
          <p:cNvSpPr/>
          <p:nvPr/>
        </p:nvSpPr>
        <p:spPr>
          <a:xfrm>
            <a:off x="8695113" y="1359359"/>
            <a:ext cx="661476" cy="661476"/>
          </a:xfrm>
          <a:prstGeom prst="blockArc">
            <a:avLst>
              <a:gd name="adj1" fmla="val 10800000"/>
              <a:gd name="adj2" fmla="val 5323603"/>
              <a:gd name="adj3" fmla="val 13779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latin typeface="Lato" panose="020F0502020204030203" pitchFamily="34" charset="0"/>
              </a:rPr>
              <a:t>75%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147762FC-09F2-FE0C-27B4-D3EB83583CEE}"/>
              </a:ext>
            </a:extLst>
          </p:cNvPr>
          <p:cNvSpPr/>
          <p:nvPr/>
        </p:nvSpPr>
        <p:spPr>
          <a:xfrm>
            <a:off x="2254927" y="1275146"/>
            <a:ext cx="133166" cy="3637556"/>
          </a:xfrm>
          <a:custGeom>
            <a:avLst/>
            <a:gdLst>
              <a:gd name="connsiteX0" fmla="*/ 133166 w 133166"/>
              <a:gd name="connsiteY0" fmla="*/ 0 h 3610811"/>
              <a:gd name="connsiteX1" fmla="*/ 133166 w 133166"/>
              <a:gd name="connsiteY1" fmla="*/ 3610811 h 3610811"/>
              <a:gd name="connsiteX2" fmla="*/ 126527 w 133166"/>
              <a:gd name="connsiteY2" fmla="*/ 3605333 h 3610811"/>
              <a:gd name="connsiteX3" fmla="*/ 0 w 133166"/>
              <a:gd name="connsiteY3" fmla="*/ 3299871 h 3610811"/>
              <a:gd name="connsiteX4" fmla="*/ 0 w 133166"/>
              <a:gd name="connsiteY4" fmla="*/ 310939 h 3610811"/>
              <a:gd name="connsiteX5" fmla="*/ 126527 w 133166"/>
              <a:gd name="connsiteY5" fmla="*/ 5478 h 3610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3166" h="3610811">
                <a:moveTo>
                  <a:pt x="133166" y="0"/>
                </a:moveTo>
                <a:lnTo>
                  <a:pt x="133166" y="3610811"/>
                </a:lnTo>
                <a:lnTo>
                  <a:pt x="126527" y="3605333"/>
                </a:lnTo>
                <a:cubicBezTo>
                  <a:pt x="48352" y="3527158"/>
                  <a:pt x="0" y="3419161"/>
                  <a:pt x="0" y="3299871"/>
                </a:cubicBezTo>
                <a:lnTo>
                  <a:pt x="0" y="310939"/>
                </a:lnTo>
                <a:cubicBezTo>
                  <a:pt x="0" y="191649"/>
                  <a:pt x="48352" y="83652"/>
                  <a:pt x="126527" y="5478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360000" rtlCol="0" anchor="t">
            <a:noAutofit/>
          </a:bodyPr>
          <a:lstStyle/>
          <a:p>
            <a:endParaRPr lang="de-DE" dirty="0">
              <a:latin typeface="Lato" panose="020F0502020204030203" pitchFamily="34" charset="0"/>
            </a:endParaRPr>
          </a:p>
        </p:txBody>
      </p:sp>
      <p:sp>
        <p:nvSpPr>
          <p:cNvPr id="35" name="Rectangle: Diagonal Corners Rounded 34">
            <a:extLst>
              <a:ext uri="{FF2B5EF4-FFF2-40B4-BE49-F238E27FC236}">
                <a16:creationId xmlns:a16="http://schemas.microsoft.com/office/drawing/2014/main" id="{7EBA4B5C-1DFA-9F5D-E0D5-36FC2DD8ABB9}"/>
              </a:ext>
            </a:extLst>
          </p:cNvPr>
          <p:cNvSpPr/>
          <p:nvPr/>
        </p:nvSpPr>
        <p:spPr>
          <a:xfrm>
            <a:off x="4342903" y="4200672"/>
            <a:ext cx="2621818" cy="806334"/>
          </a:xfrm>
          <a:prstGeom prst="round2DiagRect">
            <a:avLst>
              <a:gd name="adj1" fmla="val 53576"/>
              <a:gd name="adj2" fmla="val 0"/>
            </a:avLst>
          </a:prstGeom>
          <a:solidFill>
            <a:srgbClr val="1458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r>
              <a:rPr lang="de-DE" sz="1400" dirty="0">
                <a:latin typeface="Lato" panose="020F0502020204030203" pitchFamily="34" charset="0"/>
              </a:rPr>
              <a:t>I half-assed this today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75C04EC-DE35-B1A7-2151-F44609DFE06F}"/>
              </a:ext>
            </a:extLst>
          </p:cNvPr>
          <p:cNvSpPr/>
          <p:nvPr/>
        </p:nvSpPr>
        <p:spPr>
          <a:xfrm>
            <a:off x="6369918" y="4200672"/>
            <a:ext cx="1221029" cy="806334"/>
          </a:xfrm>
          <a:prstGeom prst="rect">
            <a:avLst/>
          </a:prstGeom>
          <a:solidFill>
            <a:srgbClr val="1458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Rectangle: Diagonal Corners Rounded 2">
            <a:extLst>
              <a:ext uri="{FF2B5EF4-FFF2-40B4-BE49-F238E27FC236}">
                <a16:creationId xmlns:a16="http://schemas.microsoft.com/office/drawing/2014/main" id="{25846559-B397-9317-A5AE-A56A398622A9}"/>
              </a:ext>
            </a:extLst>
          </p:cNvPr>
          <p:cNvSpPr/>
          <p:nvPr/>
        </p:nvSpPr>
        <p:spPr>
          <a:xfrm>
            <a:off x="6966065" y="4200672"/>
            <a:ext cx="2621818" cy="806334"/>
          </a:xfrm>
          <a:prstGeom prst="round2DiagRect">
            <a:avLst>
              <a:gd name="adj1" fmla="val 53576"/>
              <a:gd name="adj2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Lato" panose="020F0502020204030203" pitchFamily="34" charset="0"/>
              </a:rPr>
              <a:t>I did this today</a:t>
            </a: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F6604DDD-4BC9-08D9-D061-DE30CC2B289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24606" y="4416522"/>
            <a:ext cx="374634" cy="374634"/>
          </a:xfrm>
          <a:prstGeom prst="rect">
            <a:avLst/>
          </a:prstGeom>
        </p:spPr>
      </p:pic>
      <p:sp>
        <p:nvSpPr>
          <p:cNvPr id="38" name="Rectangle: Top Corners Rounded 37">
            <a:extLst>
              <a:ext uri="{FF2B5EF4-FFF2-40B4-BE49-F238E27FC236}">
                <a16:creationId xmlns:a16="http://schemas.microsoft.com/office/drawing/2014/main" id="{AFB33557-5A48-5D6A-58F8-8B81EB86BFB9}"/>
              </a:ext>
            </a:extLst>
          </p:cNvPr>
          <p:cNvSpPr/>
          <p:nvPr/>
        </p:nvSpPr>
        <p:spPr>
          <a:xfrm rot="16200000">
            <a:off x="2531272" y="4217091"/>
            <a:ext cx="672737" cy="773496"/>
          </a:xfrm>
          <a:prstGeom prst="round2SameRect">
            <a:avLst>
              <a:gd name="adj1" fmla="val 15048"/>
              <a:gd name="adj2" fmla="val 0"/>
            </a:avLst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square" lIns="0" tIns="0" rIns="0" bIns="0" rtlCol="0" anchor="ctr"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Lato" panose="020F0502020204030203" pitchFamily="34" charset="0"/>
              </a:rPr>
              <a:t>Streak</a:t>
            </a:r>
          </a:p>
        </p:txBody>
      </p:sp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58B46C6F-88C5-3B6D-47DB-F19D4E9AA5CB}"/>
              </a:ext>
            </a:extLst>
          </p:cNvPr>
          <p:cNvSpPr/>
          <p:nvPr/>
        </p:nvSpPr>
        <p:spPr>
          <a:xfrm rot="5400000" flipH="1">
            <a:off x="3419669" y="4102190"/>
            <a:ext cx="672737" cy="1003297"/>
          </a:xfrm>
          <a:prstGeom prst="round2SameRect">
            <a:avLst>
              <a:gd name="adj1" fmla="val 15048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rtlCol="0" anchor="ctr">
            <a:noAutofit/>
          </a:bodyPr>
          <a:lstStyle/>
          <a:p>
            <a:pPr algn="ctr"/>
            <a:r>
              <a:rPr lang="de-DE" sz="2000" dirty="0">
                <a:solidFill>
                  <a:srgbClr val="595959"/>
                </a:solidFill>
                <a:latin typeface="Lato" panose="020F0502020204030203" pitchFamily="34" charset="0"/>
              </a:rPr>
              <a:t>10</a:t>
            </a:r>
          </a:p>
          <a:p>
            <a:pPr algn="ctr"/>
            <a:r>
              <a:rPr lang="de-DE" sz="1050" dirty="0">
                <a:solidFill>
                  <a:srgbClr val="595959"/>
                </a:solidFill>
                <a:latin typeface="Lato" panose="020F0502020204030203" pitchFamily="34" charset="0"/>
              </a:rPr>
              <a:t>days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FD077B32-023B-0565-1BB0-5FAF4A19739F}"/>
              </a:ext>
            </a:extLst>
          </p:cNvPr>
          <p:cNvGrpSpPr/>
          <p:nvPr/>
        </p:nvGrpSpPr>
        <p:grpSpPr>
          <a:xfrm>
            <a:off x="2944647" y="2898085"/>
            <a:ext cx="5378812" cy="596687"/>
            <a:chOff x="3282676" y="2695718"/>
            <a:chExt cx="5378812" cy="596687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6058334A-4250-85E5-A59B-402549A44D15}"/>
                </a:ext>
              </a:extLst>
            </p:cNvPr>
            <p:cNvSpPr/>
            <p:nvPr/>
          </p:nvSpPr>
          <p:spPr>
            <a:xfrm>
              <a:off x="3282676" y="2695718"/>
              <a:ext cx="597517" cy="596684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468000" rtlCol="0" anchor="ctr"/>
            <a:lstStyle/>
            <a:p>
              <a:pPr algn="ctr"/>
              <a:endParaRPr lang="de-DE" sz="1400">
                <a:latin typeface="Lato" panose="020F0502020204030203" pitchFamily="34" charset="0"/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C12735D7-51C9-179F-D84E-4C12FCF70715}"/>
                </a:ext>
              </a:extLst>
            </p:cNvPr>
            <p:cNvSpPr/>
            <p:nvPr/>
          </p:nvSpPr>
          <p:spPr>
            <a:xfrm>
              <a:off x="4079558" y="2695718"/>
              <a:ext cx="597517" cy="596684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468000" rtlCol="0" anchor="ctr"/>
            <a:lstStyle/>
            <a:p>
              <a:pPr algn="ctr"/>
              <a:endParaRPr lang="de-DE" sz="1400">
                <a:latin typeface="Lato" panose="020F0502020204030203" pitchFamily="34" charset="0"/>
              </a:endParaRP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5D9C5AFC-294F-3FC0-0E36-BE733C21E5CB}"/>
                </a:ext>
              </a:extLst>
            </p:cNvPr>
            <p:cNvGrpSpPr/>
            <p:nvPr/>
          </p:nvGrpSpPr>
          <p:grpSpPr>
            <a:xfrm>
              <a:off x="4876443" y="2695721"/>
              <a:ext cx="597517" cy="596684"/>
              <a:chOff x="3448272" y="2883066"/>
              <a:chExt cx="478951" cy="478283"/>
            </a:xfrm>
          </p:grpSpPr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21966CCF-5F5D-3F5E-FA38-8DD7108AFF89}"/>
                  </a:ext>
                </a:extLst>
              </p:cNvPr>
              <p:cNvSpPr/>
              <p:nvPr/>
            </p:nvSpPr>
            <p:spPr>
              <a:xfrm>
                <a:off x="3448272" y="2883066"/>
                <a:ext cx="478951" cy="478283"/>
              </a:xfrm>
              <a:prstGeom prst="ellipse">
                <a:avLst/>
              </a:prstGeom>
              <a:solidFill>
                <a:srgbClr val="14582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468000" rtlCol="0" anchor="ctr"/>
              <a:lstStyle/>
              <a:p>
                <a:pPr algn="ctr"/>
                <a:endParaRPr lang="de-DE" sz="1400">
                  <a:latin typeface="Lato" panose="020F0502020204030203" pitchFamily="34" charset="0"/>
                </a:endParaRPr>
              </a:p>
            </p:txBody>
          </p:sp>
          <p:pic>
            <p:nvPicPr>
              <p:cNvPr id="99" name="Graphic 98">
                <a:extLst>
                  <a:ext uri="{FF2B5EF4-FFF2-40B4-BE49-F238E27FC236}">
                    <a16:creationId xmlns:a16="http://schemas.microsoft.com/office/drawing/2014/main" id="{8FB59471-264E-5C34-69F7-0167EECD65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550055" y="3016291"/>
                <a:ext cx="275385" cy="211834"/>
              </a:xfrm>
              <a:prstGeom prst="rect">
                <a:avLst/>
              </a:prstGeom>
            </p:spPr>
          </p:pic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F5A49119-E716-1B94-0EE9-0ECBEBFCFE37}"/>
                </a:ext>
              </a:extLst>
            </p:cNvPr>
            <p:cNvGrpSpPr/>
            <p:nvPr/>
          </p:nvGrpSpPr>
          <p:grpSpPr>
            <a:xfrm>
              <a:off x="5673325" y="2695721"/>
              <a:ext cx="597517" cy="596684"/>
              <a:chOff x="3448272" y="2883066"/>
              <a:chExt cx="478951" cy="478283"/>
            </a:xfrm>
          </p:grpSpPr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600F21A9-2230-1DEB-1D7F-4EC699FF96E9}"/>
                  </a:ext>
                </a:extLst>
              </p:cNvPr>
              <p:cNvSpPr/>
              <p:nvPr/>
            </p:nvSpPr>
            <p:spPr>
              <a:xfrm>
                <a:off x="3448272" y="2883066"/>
                <a:ext cx="478951" cy="478283"/>
              </a:xfrm>
              <a:prstGeom prst="ellipse">
                <a:avLst/>
              </a:prstGeom>
              <a:solidFill>
                <a:srgbClr val="89A58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468000" rtlCol="0" anchor="ctr"/>
              <a:lstStyle/>
              <a:p>
                <a:pPr algn="ctr"/>
                <a:endParaRPr lang="de-DE" sz="1400">
                  <a:latin typeface="Lato" panose="020F0502020204030203" pitchFamily="34" charset="0"/>
                </a:endParaRPr>
              </a:p>
            </p:txBody>
          </p:sp>
          <p:pic>
            <p:nvPicPr>
              <p:cNvPr id="97" name="Graphic 96">
                <a:extLst>
                  <a:ext uri="{FF2B5EF4-FFF2-40B4-BE49-F238E27FC236}">
                    <a16:creationId xmlns:a16="http://schemas.microsoft.com/office/drawing/2014/main" id="{977D0D45-565D-1DA6-4360-83B395FF25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550055" y="3016291"/>
                <a:ext cx="275385" cy="211834"/>
              </a:xfrm>
              <a:prstGeom prst="rect">
                <a:avLst/>
              </a:prstGeom>
            </p:spPr>
          </p:pic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3A66E897-533F-548D-B4C8-39EDAF958501}"/>
                </a:ext>
              </a:extLst>
            </p:cNvPr>
            <p:cNvGrpSpPr/>
            <p:nvPr/>
          </p:nvGrpSpPr>
          <p:grpSpPr>
            <a:xfrm>
              <a:off x="6470207" y="2695721"/>
              <a:ext cx="597517" cy="596684"/>
              <a:chOff x="3448272" y="2883066"/>
              <a:chExt cx="478951" cy="478283"/>
            </a:xfrm>
          </p:grpSpPr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0F574AA4-44C9-9563-9EC9-B2C834764B6D}"/>
                  </a:ext>
                </a:extLst>
              </p:cNvPr>
              <p:cNvSpPr/>
              <p:nvPr/>
            </p:nvSpPr>
            <p:spPr>
              <a:xfrm>
                <a:off x="3448272" y="2883066"/>
                <a:ext cx="478951" cy="478283"/>
              </a:xfrm>
              <a:prstGeom prst="ellipse">
                <a:avLst/>
              </a:prstGeom>
              <a:solidFill>
                <a:srgbClr val="89A58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468000" rtlCol="0" anchor="ctr"/>
              <a:lstStyle/>
              <a:p>
                <a:pPr algn="ctr"/>
                <a:endParaRPr lang="de-DE" sz="1400">
                  <a:latin typeface="Lato" panose="020F0502020204030203" pitchFamily="34" charset="0"/>
                </a:endParaRPr>
              </a:p>
            </p:txBody>
          </p:sp>
          <p:pic>
            <p:nvPicPr>
              <p:cNvPr id="95" name="Graphic 94">
                <a:extLst>
                  <a:ext uri="{FF2B5EF4-FFF2-40B4-BE49-F238E27FC236}">
                    <a16:creationId xmlns:a16="http://schemas.microsoft.com/office/drawing/2014/main" id="{70DF6C7E-C5B1-57B3-71CA-5475669D08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550055" y="3016291"/>
                <a:ext cx="275385" cy="211834"/>
              </a:xfrm>
              <a:prstGeom prst="rect">
                <a:avLst/>
              </a:prstGeom>
            </p:spPr>
          </p:pic>
        </p:grp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CC3E647E-CDE1-607E-A6A2-03AE6B1B55DD}"/>
                </a:ext>
              </a:extLst>
            </p:cNvPr>
            <p:cNvGrpSpPr/>
            <p:nvPr/>
          </p:nvGrpSpPr>
          <p:grpSpPr>
            <a:xfrm>
              <a:off x="7267089" y="2695721"/>
              <a:ext cx="597517" cy="596684"/>
              <a:chOff x="3448272" y="2883066"/>
              <a:chExt cx="478951" cy="478283"/>
            </a:xfrm>
          </p:grpSpPr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85A4453D-9CB8-AD32-BA29-FE1B1968AC54}"/>
                  </a:ext>
                </a:extLst>
              </p:cNvPr>
              <p:cNvSpPr/>
              <p:nvPr/>
            </p:nvSpPr>
            <p:spPr>
              <a:xfrm>
                <a:off x="3448272" y="2883066"/>
                <a:ext cx="478951" cy="478283"/>
              </a:xfrm>
              <a:prstGeom prst="ellipse">
                <a:avLst/>
              </a:prstGeom>
              <a:solidFill>
                <a:srgbClr val="14582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468000" rtlCol="0" anchor="ctr"/>
              <a:lstStyle/>
              <a:p>
                <a:pPr algn="ctr"/>
                <a:endParaRPr lang="de-DE" sz="1400" dirty="0">
                  <a:latin typeface="Lato" panose="020F0502020204030203" pitchFamily="34" charset="0"/>
                </a:endParaRPr>
              </a:p>
            </p:txBody>
          </p:sp>
          <p:pic>
            <p:nvPicPr>
              <p:cNvPr id="93" name="Graphic 92">
                <a:extLst>
                  <a:ext uri="{FF2B5EF4-FFF2-40B4-BE49-F238E27FC236}">
                    <a16:creationId xmlns:a16="http://schemas.microsoft.com/office/drawing/2014/main" id="{6D4F848E-F67E-0D49-9F4D-3F5DAEA8C0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550055" y="3016291"/>
                <a:ext cx="275385" cy="211834"/>
              </a:xfrm>
              <a:prstGeom prst="rect">
                <a:avLst/>
              </a:prstGeom>
            </p:spPr>
          </p:pic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D219CA4D-045C-D38A-21A3-FB2A43A32358}"/>
                </a:ext>
              </a:extLst>
            </p:cNvPr>
            <p:cNvGrpSpPr/>
            <p:nvPr/>
          </p:nvGrpSpPr>
          <p:grpSpPr>
            <a:xfrm>
              <a:off x="8063971" y="2695721"/>
              <a:ext cx="597517" cy="596684"/>
              <a:chOff x="3448272" y="2883066"/>
              <a:chExt cx="478951" cy="478283"/>
            </a:xfrm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B4F5F633-A941-BA25-531F-EC9DF0E1D8D8}"/>
                  </a:ext>
                </a:extLst>
              </p:cNvPr>
              <p:cNvSpPr/>
              <p:nvPr/>
            </p:nvSpPr>
            <p:spPr>
              <a:xfrm>
                <a:off x="3448272" y="2883066"/>
                <a:ext cx="478951" cy="478283"/>
              </a:xfrm>
              <a:prstGeom prst="ellipse">
                <a:avLst/>
              </a:prstGeom>
              <a:solidFill>
                <a:srgbClr val="14582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468000" rtlCol="0" anchor="ctr"/>
              <a:lstStyle/>
              <a:p>
                <a:pPr algn="ctr"/>
                <a:endParaRPr lang="de-DE" sz="1400">
                  <a:latin typeface="Lato" panose="020F0502020204030203" pitchFamily="34" charset="0"/>
                </a:endParaRPr>
              </a:p>
            </p:txBody>
          </p:sp>
          <p:pic>
            <p:nvPicPr>
              <p:cNvPr id="91" name="Graphic 90">
                <a:extLst>
                  <a:ext uri="{FF2B5EF4-FFF2-40B4-BE49-F238E27FC236}">
                    <a16:creationId xmlns:a16="http://schemas.microsoft.com/office/drawing/2014/main" id="{FF5A0A23-BE30-EAAA-8C1E-7B94AC756D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550055" y="3016291"/>
                <a:ext cx="275385" cy="211834"/>
              </a:xfrm>
              <a:prstGeom prst="rect">
                <a:avLst/>
              </a:prstGeom>
            </p:spPr>
          </p:pic>
        </p:grp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F5A17AB8-8CA3-CC71-1F5F-F79DADC3AFAA}"/>
              </a:ext>
            </a:extLst>
          </p:cNvPr>
          <p:cNvSpPr/>
          <p:nvPr/>
        </p:nvSpPr>
        <p:spPr>
          <a:xfrm>
            <a:off x="2944647" y="2425717"/>
            <a:ext cx="597517" cy="369332"/>
          </a:xfrm>
          <a:prstGeom prst="rect">
            <a:avLst/>
          </a:prstGeom>
          <a:solidFill>
            <a:srgbClr val="1B1B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Sun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4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BA263107-DDA2-3DCB-FA43-984974139CD5}"/>
              </a:ext>
            </a:extLst>
          </p:cNvPr>
          <p:cNvSpPr/>
          <p:nvPr/>
        </p:nvSpPr>
        <p:spPr>
          <a:xfrm>
            <a:off x="3741529" y="2425717"/>
            <a:ext cx="597517" cy="369332"/>
          </a:xfrm>
          <a:prstGeom prst="rect">
            <a:avLst/>
          </a:prstGeom>
          <a:solidFill>
            <a:srgbClr val="1B1B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Mon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5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0E78909D-E1F8-227E-F176-5802F931478E}"/>
              </a:ext>
            </a:extLst>
          </p:cNvPr>
          <p:cNvSpPr/>
          <p:nvPr/>
        </p:nvSpPr>
        <p:spPr>
          <a:xfrm>
            <a:off x="4538414" y="2425720"/>
            <a:ext cx="597517" cy="369332"/>
          </a:xfrm>
          <a:prstGeom prst="rect">
            <a:avLst/>
          </a:prstGeom>
          <a:solidFill>
            <a:srgbClr val="1B1B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Tue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6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86ED150C-2F9C-0A90-E63E-48D42F0E4C01}"/>
              </a:ext>
            </a:extLst>
          </p:cNvPr>
          <p:cNvSpPr/>
          <p:nvPr/>
        </p:nvSpPr>
        <p:spPr>
          <a:xfrm>
            <a:off x="5335296" y="2425717"/>
            <a:ext cx="597517" cy="369332"/>
          </a:xfrm>
          <a:prstGeom prst="rect">
            <a:avLst/>
          </a:prstGeom>
          <a:solidFill>
            <a:srgbClr val="1B1B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Wed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7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6450A79F-5815-0A1A-1B4B-7C0EB0EF4498}"/>
              </a:ext>
            </a:extLst>
          </p:cNvPr>
          <p:cNvSpPr/>
          <p:nvPr/>
        </p:nvSpPr>
        <p:spPr>
          <a:xfrm>
            <a:off x="6132178" y="2425717"/>
            <a:ext cx="597517" cy="369332"/>
          </a:xfrm>
          <a:prstGeom prst="rect">
            <a:avLst/>
          </a:prstGeom>
          <a:solidFill>
            <a:srgbClr val="1B1B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Thu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8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99F79DF-3AEF-0E7D-2C36-92FF3319ADFB}"/>
              </a:ext>
            </a:extLst>
          </p:cNvPr>
          <p:cNvSpPr/>
          <p:nvPr/>
        </p:nvSpPr>
        <p:spPr>
          <a:xfrm>
            <a:off x="6929060" y="2425720"/>
            <a:ext cx="597517" cy="369332"/>
          </a:xfrm>
          <a:prstGeom prst="rect">
            <a:avLst/>
          </a:prstGeom>
          <a:solidFill>
            <a:srgbClr val="1B1B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Fri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9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F49AAB4A-29BE-71B4-C0A3-3AF092BBE1A8}"/>
              </a:ext>
            </a:extLst>
          </p:cNvPr>
          <p:cNvSpPr/>
          <p:nvPr/>
        </p:nvSpPr>
        <p:spPr>
          <a:xfrm>
            <a:off x="7725942" y="2425720"/>
            <a:ext cx="597517" cy="369332"/>
          </a:xfrm>
          <a:prstGeom prst="rect">
            <a:avLst/>
          </a:prstGeom>
          <a:solidFill>
            <a:srgbClr val="1B1B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Sat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10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5F835CD5-300F-9C4A-0DBA-A506B0510303}"/>
              </a:ext>
            </a:extLst>
          </p:cNvPr>
          <p:cNvGrpSpPr/>
          <p:nvPr/>
        </p:nvGrpSpPr>
        <p:grpSpPr>
          <a:xfrm>
            <a:off x="8860755" y="2176944"/>
            <a:ext cx="330190" cy="70279"/>
            <a:chOff x="7686950" y="1440238"/>
            <a:chExt cx="479262" cy="102008"/>
          </a:xfrm>
        </p:grpSpPr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B9E51244-A3EC-7B02-DB38-AF328CFEDB52}"/>
                </a:ext>
              </a:extLst>
            </p:cNvPr>
            <p:cNvSpPr/>
            <p:nvPr/>
          </p:nvSpPr>
          <p:spPr>
            <a:xfrm>
              <a:off x="7686950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24058584-4157-EC74-8E57-8D1E13C96393}"/>
                </a:ext>
              </a:extLst>
            </p:cNvPr>
            <p:cNvSpPr/>
            <p:nvPr/>
          </p:nvSpPr>
          <p:spPr>
            <a:xfrm>
              <a:off x="7875577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AD302998-3FC7-C276-28DA-761D4D2F123B}"/>
                </a:ext>
              </a:extLst>
            </p:cNvPr>
            <p:cNvSpPr/>
            <p:nvPr/>
          </p:nvSpPr>
          <p:spPr>
            <a:xfrm>
              <a:off x="8064204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04" name="Oval 103">
            <a:extLst>
              <a:ext uri="{FF2B5EF4-FFF2-40B4-BE49-F238E27FC236}">
                <a16:creationId xmlns:a16="http://schemas.microsoft.com/office/drawing/2014/main" id="{61146373-E1CB-934E-E633-490B175CC7BB}"/>
              </a:ext>
            </a:extLst>
          </p:cNvPr>
          <p:cNvSpPr/>
          <p:nvPr/>
        </p:nvSpPr>
        <p:spPr>
          <a:xfrm>
            <a:off x="8804349" y="2403332"/>
            <a:ext cx="443004" cy="44300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F2E985D1-6A32-CC97-ECA2-855D6E00C880}"/>
              </a:ext>
            </a:extLst>
          </p:cNvPr>
          <p:cNvSpPr/>
          <p:nvPr/>
        </p:nvSpPr>
        <p:spPr>
          <a:xfrm>
            <a:off x="8804349" y="3002445"/>
            <a:ext cx="443004" cy="44300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F6C0D36B-74D8-0975-FFB5-95961676F47D}"/>
              </a:ext>
            </a:extLst>
          </p:cNvPr>
          <p:cNvSpPr/>
          <p:nvPr/>
        </p:nvSpPr>
        <p:spPr>
          <a:xfrm>
            <a:off x="8804349" y="3601558"/>
            <a:ext cx="443004" cy="44300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4839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FF72E1-0827-8C53-8C4A-BCB8D7E116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FF72E1-0827-8C53-8C4A-BCB8D7E116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262A5D0-8BA3-AC13-B213-094C44BFA1E9}"/>
              </a:ext>
            </a:extLst>
          </p:cNvPr>
          <p:cNvSpPr/>
          <p:nvPr/>
        </p:nvSpPr>
        <p:spPr>
          <a:xfrm>
            <a:off x="2254927" y="1154098"/>
            <a:ext cx="7332956" cy="3852908"/>
          </a:xfrm>
          <a:prstGeom prst="roundRect">
            <a:avLst>
              <a:gd name="adj" fmla="val 11212"/>
            </a:avLst>
          </a:prstGeom>
          <a:solidFill>
            <a:srgbClr val="0D11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tlCol="0" anchor="t"/>
          <a:lstStyle/>
          <a:p>
            <a:endParaRPr lang="de-DE" dirty="0">
              <a:latin typeface="Lato" panose="020F050202020403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4ADDA64-D3C1-52F2-D387-373C7E4BBA75}"/>
              </a:ext>
            </a:extLst>
          </p:cNvPr>
          <p:cNvSpPr txBox="1"/>
          <p:nvPr/>
        </p:nvSpPr>
        <p:spPr>
          <a:xfrm>
            <a:off x="2586798" y="1505431"/>
            <a:ext cx="4744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>
                <a:solidFill>
                  <a:schemeClr val="bg1"/>
                </a:solidFill>
                <a:latin typeface="Lato" panose="020F0502020204030203" pitchFamily="34" charset="0"/>
              </a:rPr>
              <a:t>Going to bed early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B3CD5145-4E66-1404-5F99-8258D9304087}"/>
              </a:ext>
            </a:extLst>
          </p:cNvPr>
          <p:cNvGrpSpPr/>
          <p:nvPr/>
        </p:nvGrpSpPr>
        <p:grpSpPr>
          <a:xfrm>
            <a:off x="8860755" y="2176944"/>
            <a:ext cx="330190" cy="70279"/>
            <a:chOff x="7686950" y="1440238"/>
            <a:chExt cx="479262" cy="102008"/>
          </a:xfrm>
        </p:grpSpPr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BD784211-A2BF-6AA1-BB68-253DECF5C0E9}"/>
                </a:ext>
              </a:extLst>
            </p:cNvPr>
            <p:cNvSpPr/>
            <p:nvPr/>
          </p:nvSpPr>
          <p:spPr>
            <a:xfrm>
              <a:off x="7686950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EDADD81C-9C84-DD45-D9E5-07FBBE0309A9}"/>
                </a:ext>
              </a:extLst>
            </p:cNvPr>
            <p:cNvSpPr/>
            <p:nvPr/>
          </p:nvSpPr>
          <p:spPr>
            <a:xfrm>
              <a:off x="7875577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85C3516B-B4DA-D791-EBDC-688C2F7EFA7F}"/>
                </a:ext>
              </a:extLst>
            </p:cNvPr>
            <p:cNvSpPr/>
            <p:nvPr/>
          </p:nvSpPr>
          <p:spPr>
            <a:xfrm>
              <a:off x="8064204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79" name="Oval 78">
            <a:extLst>
              <a:ext uri="{FF2B5EF4-FFF2-40B4-BE49-F238E27FC236}">
                <a16:creationId xmlns:a16="http://schemas.microsoft.com/office/drawing/2014/main" id="{77A38957-F670-F3BE-D500-A31B3FA0892C}"/>
              </a:ext>
            </a:extLst>
          </p:cNvPr>
          <p:cNvSpPr/>
          <p:nvPr/>
        </p:nvSpPr>
        <p:spPr>
          <a:xfrm>
            <a:off x="3156240" y="3535993"/>
            <a:ext cx="227867" cy="227549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endParaRPr lang="de-DE" sz="1400">
              <a:latin typeface="Lato" panose="020F0502020204030203" pitchFamily="34" charset="0"/>
            </a:endParaRP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AFE3CCFE-A525-DCA7-4639-1A45A10B979C}"/>
              </a:ext>
            </a:extLst>
          </p:cNvPr>
          <p:cNvSpPr/>
          <p:nvPr/>
        </p:nvSpPr>
        <p:spPr>
          <a:xfrm>
            <a:off x="4039984" y="3535993"/>
            <a:ext cx="227867" cy="227549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endParaRPr lang="de-DE" sz="1400">
              <a:latin typeface="Lato" panose="020F0502020204030203" pitchFamily="34" charset="0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FB2D44C6-A860-1BD3-B617-2B6D75609741}"/>
              </a:ext>
            </a:extLst>
          </p:cNvPr>
          <p:cNvSpPr/>
          <p:nvPr/>
        </p:nvSpPr>
        <p:spPr>
          <a:xfrm>
            <a:off x="4706340" y="3318906"/>
            <a:ext cx="662648" cy="661724"/>
          </a:xfrm>
          <a:prstGeom prst="ellipse">
            <a:avLst/>
          </a:prstGeom>
          <a:solidFill>
            <a:srgbClr val="0D11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endParaRPr lang="de-DE" sz="1400">
              <a:latin typeface="Lato" panose="020F0502020204030203" pitchFamily="34" charset="0"/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A74FF4AC-2C07-325E-C3B0-E7BE3B05CC93}"/>
              </a:ext>
            </a:extLst>
          </p:cNvPr>
          <p:cNvSpPr/>
          <p:nvPr/>
        </p:nvSpPr>
        <p:spPr>
          <a:xfrm>
            <a:off x="5590083" y="3318909"/>
            <a:ext cx="662648" cy="661724"/>
          </a:xfrm>
          <a:prstGeom prst="ellipse">
            <a:avLst/>
          </a:prstGeom>
          <a:solidFill>
            <a:srgbClr val="0D11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endParaRPr lang="de-DE" sz="1400">
              <a:latin typeface="Lato" panose="020F0502020204030203" pitchFamily="34" charset="0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4BD22F65-55C3-B03A-1C7A-B7151BAE8812}"/>
              </a:ext>
            </a:extLst>
          </p:cNvPr>
          <p:cNvSpPr/>
          <p:nvPr/>
        </p:nvSpPr>
        <p:spPr>
          <a:xfrm>
            <a:off x="6473827" y="3318909"/>
            <a:ext cx="662648" cy="661724"/>
          </a:xfrm>
          <a:prstGeom prst="ellipse">
            <a:avLst/>
          </a:prstGeom>
          <a:solidFill>
            <a:srgbClr val="0D11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endParaRPr lang="de-DE" sz="1400">
              <a:latin typeface="Lato" panose="020F0502020204030203" pitchFamily="34" charset="0"/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55871CBD-FE43-7F6D-C9CF-E33F546A869D}"/>
              </a:ext>
            </a:extLst>
          </p:cNvPr>
          <p:cNvSpPr/>
          <p:nvPr/>
        </p:nvSpPr>
        <p:spPr>
          <a:xfrm>
            <a:off x="7357571" y="3318909"/>
            <a:ext cx="662648" cy="661724"/>
          </a:xfrm>
          <a:prstGeom prst="ellipse">
            <a:avLst/>
          </a:prstGeom>
          <a:solidFill>
            <a:srgbClr val="0D11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endParaRPr lang="de-DE" sz="1400" dirty="0">
              <a:latin typeface="Lato" panose="020F0502020204030203" pitchFamily="34" charset="0"/>
            </a:endParaRP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FDB479E1-E365-08CA-B108-ECF49E25AE2A}"/>
              </a:ext>
            </a:extLst>
          </p:cNvPr>
          <p:cNvSpPr/>
          <p:nvPr/>
        </p:nvSpPr>
        <p:spPr>
          <a:xfrm>
            <a:off x="8241314" y="3318909"/>
            <a:ext cx="662648" cy="661724"/>
          </a:xfrm>
          <a:prstGeom prst="ellipse">
            <a:avLst/>
          </a:prstGeom>
          <a:solidFill>
            <a:srgbClr val="0D11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endParaRPr lang="de-DE" sz="1400">
              <a:latin typeface="Lato" panose="020F0502020204030203" pitchFamily="34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3DBD8C0F-9DB9-E73F-69C7-D9B78CF05B95}"/>
              </a:ext>
            </a:extLst>
          </p:cNvPr>
          <p:cNvSpPr/>
          <p:nvPr/>
        </p:nvSpPr>
        <p:spPr>
          <a:xfrm>
            <a:off x="2938849" y="2795049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Sun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4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8BB233F2-7D11-6D71-5F8E-DAE0F2607A67}"/>
              </a:ext>
            </a:extLst>
          </p:cNvPr>
          <p:cNvSpPr/>
          <p:nvPr/>
        </p:nvSpPr>
        <p:spPr>
          <a:xfrm>
            <a:off x="3822593" y="2795049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Mon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5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1B88ADD2-7E38-101B-7201-8622244014CA}"/>
              </a:ext>
            </a:extLst>
          </p:cNvPr>
          <p:cNvSpPr/>
          <p:nvPr/>
        </p:nvSpPr>
        <p:spPr>
          <a:xfrm>
            <a:off x="4706340" y="2795052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Tue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6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CFCAC636-7A9E-C8E3-7544-F75A3E2984B5}"/>
              </a:ext>
            </a:extLst>
          </p:cNvPr>
          <p:cNvSpPr/>
          <p:nvPr/>
        </p:nvSpPr>
        <p:spPr>
          <a:xfrm>
            <a:off x="5590083" y="2795049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Wed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7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44B3DD5B-3F82-08BC-04A0-35EC7A63DAFC}"/>
              </a:ext>
            </a:extLst>
          </p:cNvPr>
          <p:cNvSpPr/>
          <p:nvPr/>
        </p:nvSpPr>
        <p:spPr>
          <a:xfrm>
            <a:off x="6473827" y="2795049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Thu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8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86676961-AAA2-AE47-6DFD-8891BF93BAD0}"/>
              </a:ext>
            </a:extLst>
          </p:cNvPr>
          <p:cNvSpPr/>
          <p:nvPr/>
        </p:nvSpPr>
        <p:spPr>
          <a:xfrm>
            <a:off x="7357571" y="2795052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Fri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9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75FC511F-15C1-B3C8-D173-B3183E84B813}"/>
              </a:ext>
            </a:extLst>
          </p:cNvPr>
          <p:cNvSpPr/>
          <p:nvPr/>
        </p:nvSpPr>
        <p:spPr>
          <a:xfrm>
            <a:off x="8241314" y="2795052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Sat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10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48B6F02B-7476-D474-245F-B597C35BFBF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54011" y="3508294"/>
            <a:ext cx="367306" cy="282949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07784EBB-CC6D-17DD-F969-6A4F8CD605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37755" y="3508297"/>
            <a:ext cx="367306" cy="282949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905B855C-F49E-3B62-F42E-4CBD425DC1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505241" y="3508297"/>
            <a:ext cx="367306" cy="282949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6663753-0D6D-F6AF-1EB3-410B7B94FA9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88986" y="3508297"/>
            <a:ext cx="367306" cy="282949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F1BEA7BD-163E-35AD-55BC-91B47314C78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21498" y="3508297"/>
            <a:ext cx="367306" cy="282949"/>
          </a:xfrm>
          <a:prstGeom prst="rect">
            <a:avLst/>
          </a:prstGeom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B2706514-4409-CA1A-C6A7-452C6AB64CEF}"/>
              </a:ext>
            </a:extLst>
          </p:cNvPr>
          <p:cNvSpPr/>
          <p:nvPr/>
        </p:nvSpPr>
        <p:spPr>
          <a:xfrm>
            <a:off x="2254927" y="1275146"/>
            <a:ext cx="133166" cy="3637556"/>
          </a:xfrm>
          <a:custGeom>
            <a:avLst/>
            <a:gdLst>
              <a:gd name="connsiteX0" fmla="*/ 133166 w 133166"/>
              <a:gd name="connsiteY0" fmla="*/ 0 h 3610811"/>
              <a:gd name="connsiteX1" fmla="*/ 133166 w 133166"/>
              <a:gd name="connsiteY1" fmla="*/ 3610811 h 3610811"/>
              <a:gd name="connsiteX2" fmla="*/ 126527 w 133166"/>
              <a:gd name="connsiteY2" fmla="*/ 3605333 h 3610811"/>
              <a:gd name="connsiteX3" fmla="*/ 0 w 133166"/>
              <a:gd name="connsiteY3" fmla="*/ 3299871 h 3610811"/>
              <a:gd name="connsiteX4" fmla="*/ 0 w 133166"/>
              <a:gd name="connsiteY4" fmla="*/ 310939 h 3610811"/>
              <a:gd name="connsiteX5" fmla="*/ 126527 w 133166"/>
              <a:gd name="connsiteY5" fmla="*/ 5478 h 3610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3166" h="3610811">
                <a:moveTo>
                  <a:pt x="133166" y="0"/>
                </a:moveTo>
                <a:lnTo>
                  <a:pt x="133166" y="3610811"/>
                </a:lnTo>
                <a:lnTo>
                  <a:pt x="126527" y="3605333"/>
                </a:lnTo>
                <a:cubicBezTo>
                  <a:pt x="48352" y="3527158"/>
                  <a:pt x="0" y="3419161"/>
                  <a:pt x="0" y="3299871"/>
                </a:cubicBezTo>
                <a:lnTo>
                  <a:pt x="0" y="310939"/>
                </a:lnTo>
                <a:cubicBezTo>
                  <a:pt x="0" y="191649"/>
                  <a:pt x="48352" y="83652"/>
                  <a:pt x="126527" y="5478"/>
                </a:cubicBezTo>
                <a:close/>
              </a:path>
            </a:pathLst>
          </a:custGeom>
          <a:solidFill>
            <a:srgbClr val="1458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360000" rtlCol="0" anchor="t">
            <a:noAutofit/>
          </a:bodyPr>
          <a:lstStyle/>
          <a:p>
            <a:endParaRPr lang="de-DE" dirty="0">
              <a:latin typeface="Lato" panose="020F0502020204030203" pitchFamily="34" charset="0"/>
            </a:endParaRP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FD4259F1-2610-E5F8-7BAD-FD5D18F07CA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813434" y="1486784"/>
            <a:ext cx="424834" cy="406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5462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FF72E1-0827-8C53-8C4A-BCB8D7E116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FF72E1-0827-8C53-8C4A-BCB8D7E116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262A5D0-8BA3-AC13-B213-094C44BFA1E9}"/>
              </a:ext>
            </a:extLst>
          </p:cNvPr>
          <p:cNvSpPr/>
          <p:nvPr/>
        </p:nvSpPr>
        <p:spPr>
          <a:xfrm>
            <a:off x="2254927" y="1154098"/>
            <a:ext cx="7332956" cy="3852908"/>
          </a:xfrm>
          <a:prstGeom prst="roundRect">
            <a:avLst>
              <a:gd name="adj" fmla="val 11212"/>
            </a:avLst>
          </a:prstGeom>
          <a:solidFill>
            <a:srgbClr val="1B1B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tlCol="0" anchor="t"/>
          <a:lstStyle/>
          <a:p>
            <a:endParaRPr lang="de-DE" dirty="0">
              <a:latin typeface="Lato" panose="020F050202020403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4ADDA64-D3C1-52F2-D387-373C7E4BBA75}"/>
              </a:ext>
            </a:extLst>
          </p:cNvPr>
          <p:cNvSpPr txBox="1"/>
          <p:nvPr/>
        </p:nvSpPr>
        <p:spPr>
          <a:xfrm>
            <a:off x="2586798" y="1505431"/>
            <a:ext cx="4744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>
                <a:solidFill>
                  <a:schemeClr val="bg1"/>
                </a:solidFill>
                <a:latin typeface="Lato" panose="020F0502020204030203" pitchFamily="34" charset="0"/>
              </a:rPr>
              <a:t>Going to bed early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B3CD5145-4E66-1404-5F99-8258D9304087}"/>
              </a:ext>
            </a:extLst>
          </p:cNvPr>
          <p:cNvGrpSpPr/>
          <p:nvPr/>
        </p:nvGrpSpPr>
        <p:grpSpPr>
          <a:xfrm>
            <a:off x="8860755" y="2176944"/>
            <a:ext cx="330190" cy="70279"/>
            <a:chOff x="7686950" y="1440238"/>
            <a:chExt cx="479262" cy="102008"/>
          </a:xfrm>
        </p:grpSpPr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BD784211-A2BF-6AA1-BB68-253DECF5C0E9}"/>
                </a:ext>
              </a:extLst>
            </p:cNvPr>
            <p:cNvSpPr/>
            <p:nvPr/>
          </p:nvSpPr>
          <p:spPr>
            <a:xfrm>
              <a:off x="7686950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EDADD81C-9C84-DD45-D9E5-07FBBE0309A9}"/>
                </a:ext>
              </a:extLst>
            </p:cNvPr>
            <p:cNvSpPr/>
            <p:nvPr/>
          </p:nvSpPr>
          <p:spPr>
            <a:xfrm>
              <a:off x="7875577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85C3516B-B4DA-D791-EBDC-688C2F7EFA7F}"/>
                </a:ext>
              </a:extLst>
            </p:cNvPr>
            <p:cNvSpPr/>
            <p:nvPr/>
          </p:nvSpPr>
          <p:spPr>
            <a:xfrm>
              <a:off x="8064204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79" name="Oval 78">
            <a:extLst>
              <a:ext uri="{FF2B5EF4-FFF2-40B4-BE49-F238E27FC236}">
                <a16:creationId xmlns:a16="http://schemas.microsoft.com/office/drawing/2014/main" id="{77A38957-F670-F3BE-D500-A31B3FA0892C}"/>
              </a:ext>
            </a:extLst>
          </p:cNvPr>
          <p:cNvSpPr/>
          <p:nvPr/>
        </p:nvSpPr>
        <p:spPr>
          <a:xfrm>
            <a:off x="3156240" y="3535993"/>
            <a:ext cx="227867" cy="227549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endParaRPr lang="de-DE" sz="1400">
              <a:latin typeface="Lato" panose="020F0502020204030203" pitchFamily="34" charset="0"/>
            </a:endParaRP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AFE3CCFE-A525-DCA7-4639-1A45A10B979C}"/>
              </a:ext>
            </a:extLst>
          </p:cNvPr>
          <p:cNvSpPr/>
          <p:nvPr/>
        </p:nvSpPr>
        <p:spPr>
          <a:xfrm>
            <a:off x="4039984" y="3535993"/>
            <a:ext cx="227867" cy="227549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endParaRPr lang="de-DE" sz="1400">
              <a:latin typeface="Lato" panose="020F0502020204030203" pitchFamily="34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3DBD8C0F-9DB9-E73F-69C7-D9B78CF05B95}"/>
              </a:ext>
            </a:extLst>
          </p:cNvPr>
          <p:cNvSpPr/>
          <p:nvPr/>
        </p:nvSpPr>
        <p:spPr>
          <a:xfrm>
            <a:off x="2938849" y="2795049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Sun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4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8BB233F2-7D11-6D71-5F8E-DAE0F2607A67}"/>
              </a:ext>
            </a:extLst>
          </p:cNvPr>
          <p:cNvSpPr/>
          <p:nvPr/>
        </p:nvSpPr>
        <p:spPr>
          <a:xfrm>
            <a:off x="3822593" y="2795049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Mon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5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1B88ADD2-7E38-101B-7201-8622244014CA}"/>
              </a:ext>
            </a:extLst>
          </p:cNvPr>
          <p:cNvSpPr/>
          <p:nvPr/>
        </p:nvSpPr>
        <p:spPr>
          <a:xfrm>
            <a:off x="4706340" y="2795052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Tue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6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CFCAC636-7A9E-C8E3-7544-F75A3E2984B5}"/>
              </a:ext>
            </a:extLst>
          </p:cNvPr>
          <p:cNvSpPr/>
          <p:nvPr/>
        </p:nvSpPr>
        <p:spPr>
          <a:xfrm>
            <a:off x="5590083" y="2795049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Wed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7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44B3DD5B-3F82-08BC-04A0-35EC7A63DAFC}"/>
              </a:ext>
            </a:extLst>
          </p:cNvPr>
          <p:cNvSpPr/>
          <p:nvPr/>
        </p:nvSpPr>
        <p:spPr>
          <a:xfrm>
            <a:off x="6473827" y="2795049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Thu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8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86676961-AAA2-AE47-6DFD-8891BF93BAD0}"/>
              </a:ext>
            </a:extLst>
          </p:cNvPr>
          <p:cNvSpPr/>
          <p:nvPr/>
        </p:nvSpPr>
        <p:spPr>
          <a:xfrm>
            <a:off x="7357571" y="2795052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Fri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9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75FC511F-15C1-B3C8-D173-B3183E84B813}"/>
              </a:ext>
            </a:extLst>
          </p:cNvPr>
          <p:cNvSpPr/>
          <p:nvPr/>
        </p:nvSpPr>
        <p:spPr>
          <a:xfrm>
            <a:off x="8241314" y="2795052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Sat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10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48B6F02B-7476-D474-245F-B597C35BFBF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54011" y="3508294"/>
            <a:ext cx="367306" cy="282949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07784EBB-CC6D-17DD-F969-6A4F8CD605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37755" y="3508297"/>
            <a:ext cx="367306" cy="282949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905B855C-F49E-3B62-F42E-4CBD425DC1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505241" y="3508297"/>
            <a:ext cx="367306" cy="282949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6663753-0D6D-F6AF-1EB3-410B7B94FA9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88986" y="3508297"/>
            <a:ext cx="367306" cy="282949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F1BEA7BD-163E-35AD-55BC-91B47314C78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21498" y="3508297"/>
            <a:ext cx="367306" cy="282949"/>
          </a:xfrm>
          <a:prstGeom prst="rect">
            <a:avLst/>
          </a:prstGeom>
        </p:spPr>
      </p:pic>
      <p:sp>
        <p:nvSpPr>
          <p:cNvPr id="2" name="Arc 1">
            <a:extLst>
              <a:ext uri="{FF2B5EF4-FFF2-40B4-BE49-F238E27FC236}">
                <a16:creationId xmlns:a16="http://schemas.microsoft.com/office/drawing/2014/main" id="{C58C678B-C7B7-7BCF-3307-7A47402FE7ED}"/>
              </a:ext>
            </a:extLst>
          </p:cNvPr>
          <p:cNvSpPr/>
          <p:nvPr/>
        </p:nvSpPr>
        <p:spPr>
          <a:xfrm>
            <a:off x="8733058" y="1397304"/>
            <a:ext cx="585586" cy="585586"/>
          </a:xfrm>
          <a:prstGeom prst="arc">
            <a:avLst>
              <a:gd name="adj1" fmla="val 11104360"/>
              <a:gd name="adj2" fmla="val 6586442"/>
            </a:avLst>
          </a:prstGeom>
          <a:noFill/>
          <a:ln w="66675" cap="rnd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>
              <a:latin typeface="Lato" panose="020F05020202040302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E9E59D-2559-E487-8044-F126EB48EB19}"/>
              </a:ext>
            </a:extLst>
          </p:cNvPr>
          <p:cNvSpPr txBox="1"/>
          <p:nvPr/>
        </p:nvSpPr>
        <p:spPr>
          <a:xfrm>
            <a:off x="8776584" y="1551597"/>
            <a:ext cx="49984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75%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58DC7B59-1B0C-6F83-5905-D507C26BB080}"/>
              </a:ext>
            </a:extLst>
          </p:cNvPr>
          <p:cNvSpPr/>
          <p:nvPr/>
        </p:nvSpPr>
        <p:spPr>
          <a:xfrm>
            <a:off x="2254927" y="1275146"/>
            <a:ext cx="133166" cy="3637556"/>
          </a:xfrm>
          <a:custGeom>
            <a:avLst/>
            <a:gdLst>
              <a:gd name="connsiteX0" fmla="*/ 133166 w 133166"/>
              <a:gd name="connsiteY0" fmla="*/ 0 h 3610811"/>
              <a:gd name="connsiteX1" fmla="*/ 133166 w 133166"/>
              <a:gd name="connsiteY1" fmla="*/ 3610811 h 3610811"/>
              <a:gd name="connsiteX2" fmla="*/ 126527 w 133166"/>
              <a:gd name="connsiteY2" fmla="*/ 3605333 h 3610811"/>
              <a:gd name="connsiteX3" fmla="*/ 0 w 133166"/>
              <a:gd name="connsiteY3" fmla="*/ 3299871 h 3610811"/>
              <a:gd name="connsiteX4" fmla="*/ 0 w 133166"/>
              <a:gd name="connsiteY4" fmla="*/ 310939 h 3610811"/>
              <a:gd name="connsiteX5" fmla="*/ 126527 w 133166"/>
              <a:gd name="connsiteY5" fmla="*/ 5478 h 3610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3166" h="3610811">
                <a:moveTo>
                  <a:pt x="133166" y="0"/>
                </a:moveTo>
                <a:lnTo>
                  <a:pt x="133166" y="3610811"/>
                </a:lnTo>
                <a:lnTo>
                  <a:pt x="126527" y="3605333"/>
                </a:lnTo>
                <a:cubicBezTo>
                  <a:pt x="48352" y="3527158"/>
                  <a:pt x="0" y="3419161"/>
                  <a:pt x="0" y="3299871"/>
                </a:cubicBezTo>
                <a:lnTo>
                  <a:pt x="0" y="310939"/>
                </a:lnTo>
                <a:cubicBezTo>
                  <a:pt x="0" y="191649"/>
                  <a:pt x="48352" y="83652"/>
                  <a:pt x="126527" y="5478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360000" rtlCol="0" anchor="t">
            <a:noAutofit/>
          </a:bodyPr>
          <a:lstStyle/>
          <a:p>
            <a:endParaRPr lang="de-DE" dirty="0">
              <a:latin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42860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FF72E1-0827-8C53-8C4A-BCB8D7E116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FF72E1-0827-8C53-8C4A-BCB8D7E116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262A5D0-8BA3-AC13-B213-094C44BFA1E9}"/>
              </a:ext>
            </a:extLst>
          </p:cNvPr>
          <p:cNvSpPr/>
          <p:nvPr/>
        </p:nvSpPr>
        <p:spPr>
          <a:xfrm>
            <a:off x="2254927" y="1154098"/>
            <a:ext cx="7332956" cy="3852908"/>
          </a:xfrm>
          <a:prstGeom prst="roundRect">
            <a:avLst>
              <a:gd name="adj" fmla="val 11212"/>
            </a:avLst>
          </a:prstGeom>
          <a:solidFill>
            <a:srgbClr val="0D11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tlCol="0" anchor="t"/>
          <a:lstStyle/>
          <a:p>
            <a:endParaRPr lang="de-DE" dirty="0">
              <a:latin typeface="Lato" panose="020F050202020403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4ADDA64-D3C1-52F2-D387-373C7E4BBA75}"/>
              </a:ext>
            </a:extLst>
          </p:cNvPr>
          <p:cNvSpPr txBox="1"/>
          <p:nvPr/>
        </p:nvSpPr>
        <p:spPr>
          <a:xfrm>
            <a:off x="2586798" y="1505431"/>
            <a:ext cx="4744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>
                <a:solidFill>
                  <a:schemeClr val="bg1"/>
                </a:solidFill>
                <a:latin typeface="Lato" panose="020F0502020204030203" pitchFamily="34" charset="0"/>
              </a:rPr>
              <a:t>Going to bed early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B3CD5145-4E66-1404-5F99-8258D9304087}"/>
              </a:ext>
            </a:extLst>
          </p:cNvPr>
          <p:cNvGrpSpPr/>
          <p:nvPr/>
        </p:nvGrpSpPr>
        <p:grpSpPr>
          <a:xfrm>
            <a:off x="8860756" y="4599633"/>
            <a:ext cx="330190" cy="70279"/>
            <a:chOff x="7686950" y="1440238"/>
            <a:chExt cx="479262" cy="102008"/>
          </a:xfrm>
        </p:grpSpPr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BD784211-A2BF-6AA1-BB68-253DECF5C0E9}"/>
                </a:ext>
              </a:extLst>
            </p:cNvPr>
            <p:cNvSpPr/>
            <p:nvPr/>
          </p:nvSpPr>
          <p:spPr>
            <a:xfrm>
              <a:off x="7686950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EDADD81C-9C84-DD45-D9E5-07FBBE0309A9}"/>
                </a:ext>
              </a:extLst>
            </p:cNvPr>
            <p:cNvSpPr/>
            <p:nvPr/>
          </p:nvSpPr>
          <p:spPr>
            <a:xfrm>
              <a:off x="7875577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85C3516B-B4DA-D791-EBDC-688C2F7EFA7F}"/>
                </a:ext>
              </a:extLst>
            </p:cNvPr>
            <p:cNvSpPr/>
            <p:nvPr/>
          </p:nvSpPr>
          <p:spPr>
            <a:xfrm>
              <a:off x="8064204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E3D9DC8-FE84-EE3E-35E4-0DA3C5E95E6E}"/>
              </a:ext>
            </a:extLst>
          </p:cNvPr>
          <p:cNvGrpSpPr/>
          <p:nvPr/>
        </p:nvGrpSpPr>
        <p:grpSpPr>
          <a:xfrm>
            <a:off x="2938849" y="2657441"/>
            <a:ext cx="5965113" cy="1185584"/>
            <a:chOff x="2938849" y="2795049"/>
            <a:chExt cx="5965113" cy="1185584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77A38957-F670-F3BE-D500-A31B3FA0892C}"/>
                </a:ext>
              </a:extLst>
            </p:cNvPr>
            <p:cNvSpPr/>
            <p:nvPr/>
          </p:nvSpPr>
          <p:spPr>
            <a:xfrm>
              <a:off x="3156240" y="3535993"/>
              <a:ext cx="227867" cy="227549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468000" rtlCol="0" anchor="ctr"/>
            <a:lstStyle/>
            <a:p>
              <a:pPr algn="ctr"/>
              <a:endParaRPr lang="de-DE" sz="1400">
                <a:latin typeface="Lato" panose="020F0502020204030203" pitchFamily="34" charset="0"/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AFE3CCFE-A525-DCA7-4639-1A45A10B979C}"/>
                </a:ext>
              </a:extLst>
            </p:cNvPr>
            <p:cNvSpPr/>
            <p:nvPr/>
          </p:nvSpPr>
          <p:spPr>
            <a:xfrm>
              <a:off x="4039984" y="3535993"/>
              <a:ext cx="227867" cy="227549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468000" rtlCol="0" anchor="ctr"/>
            <a:lstStyle/>
            <a:p>
              <a:pPr algn="ctr"/>
              <a:endParaRPr lang="de-DE" sz="1400">
                <a:latin typeface="Lato" panose="020F0502020204030203" pitchFamily="34" charset="0"/>
              </a:endParaRPr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FB2D44C6-A860-1BD3-B617-2B6D75609741}"/>
                </a:ext>
              </a:extLst>
            </p:cNvPr>
            <p:cNvSpPr/>
            <p:nvPr/>
          </p:nvSpPr>
          <p:spPr>
            <a:xfrm>
              <a:off x="4706340" y="3318906"/>
              <a:ext cx="662648" cy="661724"/>
            </a:xfrm>
            <a:prstGeom prst="ellipse">
              <a:avLst/>
            </a:prstGeom>
            <a:solidFill>
              <a:srgbClr val="0D11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468000" rtlCol="0" anchor="ctr"/>
            <a:lstStyle/>
            <a:p>
              <a:pPr algn="ctr"/>
              <a:endParaRPr lang="de-DE" sz="1400">
                <a:latin typeface="Lato" panose="020F0502020204030203" pitchFamily="34" charset="0"/>
              </a:endParaRPr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A74FF4AC-2C07-325E-C3B0-E7BE3B05CC93}"/>
                </a:ext>
              </a:extLst>
            </p:cNvPr>
            <p:cNvSpPr/>
            <p:nvPr/>
          </p:nvSpPr>
          <p:spPr>
            <a:xfrm>
              <a:off x="5590083" y="3318909"/>
              <a:ext cx="662648" cy="661724"/>
            </a:xfrm>
            <a:prstGeom prst="ellipse">
              <a:avLst/>
            </a:prstGeom>
            <a:solidFill>
              <a:srgbClr val="0D11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468000" rtlCol="0" anchor="ctr"/>
            <a:lstStyle/>
            <a:p>
              <a:pPr algn="ctr"/>
              <a:endParaRPr lang="de-DE" sz="1400">
                <a:latin typeface="Lato" panose="020F0502020204030203" pitchFamily="34" charset="0"/>
              </a:endParaRP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4BD22F65-55C3-B03A-1C7A-B7151BAE8812}"/>
                </a:ext>
              </a:extLst>
            </p:cNvPr>
            <p:cNvSpPr/>
            <p:nvPr/>
          </p:nvSpPr>
          <p:spPr>
            <a:xfrm>
              <a:off x="6473827" y="3318909"/>
              <a:ext cx="662648" cy="661724"/>
            </a:xfrm>
            <a:prstGeom prst="ellipse">
              <a:avLst/>
            </a:prstGeom>
            <a:solidFill>
              <a:srgbClr val="0D11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468000" rtlCol="0" anchor="ctr"/>
            <a:lstStyle/>
            <a:p>
              <a:pPr algn="ctr"/>
              <a:endParaRPr lang="de-DE" sz="1400">
                <a:latin typeface="Lato" panose="020F0502020204030203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55871CBD-FE43-7F6D-C9CF-E33F546A869D}"/>
                </a:ext>
              </a:extLst>
            </p:cNvPr>
            <p:cNvSpPr/>
            <p:nvPr/>
          </p:nvSpPr>
          <p:spPr>
            <a:xfrm>
              <a:off x="7357571" y="3318909"/>
              <a:ext cx="662648" cy="661724"/>
            </a:xfrm>
            <a:prstGeom prst="ellipse">
              <a:avLst/>
            </a:prstGeom>
            <a:solidFill>
              <a:srgbClr val="0D11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468000" rtlCol="0" anchor="ctr"/>
            <a:lstStyle/>
            <a:p>
              <a:pPr algn="ctr"/>
              <a:endParaRPr lang="de-DE" sz="1400" dirty="0">
                <a:latin typeface="Lato" panose="020F0502020204030203" pitchFamily="34" charset="0"/>
              </a:endParaRP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FDB479E1-E365-08CA-B108-ECF49E25AE2A}"/>
                </a:ext>
              </a:extLst>
            </p:cNvPr>
            <p:cNvSpPr/>
            <p:nvPr/>
          </p:nvSpPr>
          <p:spPr>
            <a:xfrm>
              <a:off x="8241314" y="3318909"/>
              <a:ext cx="662648" cy="661724"/>
            </a:xfrm>
            <a:prstGeom prst="ellipse">
              <a:avLst/>
            </a:prstGeom>
            <a:solidFill>
              <a:srgbClr val="0D11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468000" rtlCol="0" anchor="ctr"/>
            <a:lstStyle/>
            <a:p>
              <a:pPr algn="ctr"/>
              <a:endParaRPr lang="de-DE" sz="1400">
                <a:latin typeface="Lato" panose="020F0502020204030203" pitchFamily="34" charset="0"/>
              </a:endParaRP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3DBD8C0F-9DB9-E73F-69C7-D9B78CF05B95}"/>
                </a:ext>
              </a:extLst>
            </p:cNvPr>
            <p:cNvSpPr/>
            <p:nvPr/>
          </p:nvSpPr>
          <p:spPr>
            <a:xfrm>
              <a:off x="2938849" y="2795049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Sun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4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8BB233F2-7D11-6D71-5F8E-DAE0F2607A67}"/>
                </a:ext>
              </a:extLst>
            </p:cNvPr>
            <p:cNvSpPr/>
            <p:nvPr/>
          </p:nvSpPr>
          <p:spPr>
            <a:xfrm>
              <a:off x="3822593" y="2795049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Mon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5</a:t>
              </a: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1B88ADD2-7E38-101B-7201-8622244014CA}"/>
                </a:ext>
              </a:extLst>
            </p:cNvPr>
            <p:cNvSpPr/>
            <p:nvPr/>
          </p:nvSpPr>
          <p:spPr>
            <a:xfrm>
              <a:off x="4706340" y="2795052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Tue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6</a:t>
              </a: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CFCAC636-7A9E-C8E3-7544-F75A3E2984B5}"/>
                </a:ext>
              </a:extLst>
            </p:cNvPr>
            <p:cNvSpPr/>
            <p:nvPr/>
          </p:nvSpPr>
          <p:spPr>
            <a:xfrm>
              <a:off x="5590083" y="2795049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Wed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7</a:t>
              </a: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44B3DD5B-3F82-08BC-04A0-35EC7A63DAFC}"/>
                </a:ext>
              </a:extLst>
            </p:cNvPr>
            <p:cNvSpPr/>
            <p:nvPr/>
          </p:nvSpPr>
          <p:spPr>
            <a:xfrm>
              <a:off x="6473827" y="2795049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Thu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8</a:t>
              </a: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86676961-AAA2-AE47-6DFD-8891BF93BAD0}"/>
                </a:ext>
              </a:extLst>
            </p:cNvPr>
            <p:cNvSpPr/>
            <p:nvPr/>
          </p:nvSpPr>
          <p:spPr>
            <a:xfrm>
              <a:off x="7357571" y="2795052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Fri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9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75FC511F-15C1-B3C8-D173-B3183E84B813}"/>
                </a:ext>
              </a:extLst>
            </p:cNvPr>
            <p:cNvSpPr/>
            <p:nvPr/>
          </p:nvSpPr>
          <p:spPr>
            <a:xfrm>
              <a:off x="8241314" y="2795052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Sat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10</a:t>
              </a:r>
            </a:p>
          </p:txBody>
        </p:sp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48B6F02B-7476-D474-245F-B597C35BFBF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854011" y="3508294"/>
              <a:ext cx="367306" cy="282949"/>
            </a:xfrm>
            <a:prstGeom prst="rect">
              <a:avLst/>
            </a:prstGeom>
          </p:spPr>
        </p:pic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07784EBB-CC6D-17DD-F969-6A4F8CD6056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737755" y="3508297"/>
              <a:ext cx="367306" cy="282949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905B855C-F49E-3B62-F42E-4CBD425DC1D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505241" y="3508297"/>
              <a:ext cx="367306" cy="282949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06663753-0D6D-F6AF-1EB3-410B7B94FA9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388986" y="3508297"/>
              <a:ext cx="367306" cy="282949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F1BEA7BD-163E-35AD-55BC-91B47314C78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621498" y="3508297"/>
              <a:ext cx="367306" cy="282949"/>
            </a:xfrm>
            <a:prstGeom prst="rect">
              <a:avLst/>
            </a:prstGeom>
          </p:spPr>
        </p:pic>
      </p:grp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B2706514-4409-CA1A-C6A7-452C6AB64CEF}"/>
              </a:ext>
            </a:extLst>
          </p:cNvPr>
          <p:cNvSpPr/>
          <p:nvPr/>
        </p:nvSpPr>
        <p:spPr>
          <a:xfrm>
            <a:off x="2254927" y="1275146"/>
            <a:ext cx="133166" cy="3637556"/>
          </a:xfrm>
          <a:custGeom>
            <a:avLst/>
            <a:gdLst>
              <a:gd name="connsiteX0" fmla="*/ 133166 w 133166"/>
              <a:gd name="connsiteY0" fmla="*/ 0 h 3610811"/>
              <a:gd name="connsiteX1" fmla="*/ 133166 w 133166"/>
              <a:gd name="connsiteY1" fmla="*/ 3610811 h 3610811"/>
              <a:gd name="connsiteX2" fmla="*/ 126527 w 133166"/>
              <a:gd name="connsiteY2" fmla="*/ 3605333 h 3610811"/>
              <a:gd name="connsiteX3" fmla="*/ 0 w 133166"/>
              <a:gd name="connsiteY3" fmla="*/ 3299871 h 3610811"/>
              <a:gd name="connsiteX4" fmla="*/ 0 w 133166"/>
              <a:gd name="connsiteY4" fmla="*/ 310939 h 3610811"/>
              <a:gd name="connsiteX5" fmla="*/ 126527 w 133166"/>
              <a:gd name="connsiteY5" fmla="*/ 5478 h 3610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3166" h="3610811">
                <a:moveTo>
                  <a:pt x="133166" y="0"/>
                </a:moveTo>
                <a:lnTo>
                  <a:pt x="133166" y="3610811"/>
                </a:lnTo>
                <a:lnTo>
                  <a:pt x="126527" y="3605333"/>
                </a:lnTo>
                <a:cubicBezTo>
                  <a:pt x="48352" y="3527158"/>
                  <a:pt x="0" y="3419161"/>
                  <a:pt x="0" y="3299871"/>
                </a:cubicBezTo>
                <a:lnTo>
                  <a:pt x="0" y="310939"/>
                </a:lnTo>
                <a:cubicBezTo>
                  <a:pt x="0" y="191649"/>
                  <a:pt x="48352" y="83652"/>
                  <a:pt x="126527" y="5478"/>
                </a:cubicBezTo>
                <a:close/>
              </a:path>
            </a:pathLst>
          </a:custGeom>
          <a:solidFill>
            <a:srgbClr val="1458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360000" rtlCol="0" anchor="t">
            <a:noAutofit/>
          </a:bodyPr>
          <a:lstStyle/>
          <a:p>
            <a:endParaRPr lang="de-DE" dirty="0">
              <a:latin typeface="Lato" panose="020F0502020204030203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451AE03-573E-0253-DA29-34636E9DCFB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694527" y="1384018"/>
            <a:ext cx="662648" cy="612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48013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FF72E1-0827-8C53-8C4A-BCB8D7E116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FF72E1-0827-8C53-8C4A-BCB8D7E116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262A5D0-8BA3-AC13-B213-094C44BFA1E9}"/>
              </a:ext>
            </a:extLst>
          </p:cNvPr>
          <p:cNvSpPr/>
          <p:nvPr/>
        </p:nvSpPr>
        <p:spPr>
          <a:xfrm>
            <a:off x="2254927" y="1154098"/>
            <a:ext cx="7332956" cy="3852908"/>
          </a:xfrm>
          <a:prstGeom prst="roundRect">
            <a:avLst>
              <a:gd name="adj" fmla="val 11212"/>
            </a:avLst>
          </a:prstGeom>
          <a:solidFill>
            <a:srgbClr val="1B1B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tlCol="0" anchor="t"/>
          <a:lstStyle/>
          <a:p>
            <a:endParaRPr lang="de-DE" dirty="0">
              <a:latin typeface="Lato" panose="020F050202020403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4ADDA64-D3C1-52F2-D387-373C7E4BBA75}"/>
              </a:ext>
            </a:extLst>
          </p:cNvPr>
          <p:cNvSpPr txBox="1"/>
          <p:nvPr/>
        </p:nvSpPr>
        <p:spPr>
          <a:xfrm>
            <a:off x="2586798" y="1505431"/>
            <a:ext cx="4744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>
                <a:solidFill>
                  <a:schemeClr val="bg1"/>
                </a:solidFill>
                <a:latin typeface="Lato" panose="020F0502020204030203" pitchFamily="34" charset="0"/>
              </a:rPr>
              <a:t>Going to bed early</a:t>
            </a:r>
          </a:p>
        </p:txBody>
      </p:sp>
      <p:sp>
        <p:nvSpPr>
          <p:cNvPr id="2" name="Arc 1">
            <a:extLst>
              <a:ext uri="{FF2B5EF4-FFF2-40B4-BE49-F238E27FC236}">
                <a16:creationId xmlns:a16="http://schemas.microsoft.com/office/drawing/2014/main" id="{C58C678B-C7B7-7BCF-3307-7A47402FE7ED}"/>
              </a:ext>
            </a:extLst>
          </p:cNvPr>
          <p:cNvSpPr/>
          <p:nvPr/>
        </p:nvSpPr>
        <p:spPr>
          <a:xfrm>
            <a:off x="8733058" y="1397304"/>
            <a:ext cx="585586" cy="585586"/>
          </a:xfrm>
          <a:prstGeom prst="arc">
            <a:avLst>
              <a:gd name="adj1" fmla="val 11104360"/>
              <a:gd name="adj2" fmla="val 5226579"/>
            </a:avLst>
          </a:prstGeom>
          <a:noFill/>
          <a:ln w="66675" cap="rnd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>
              <a:latin typeface="Lato" panose="020F05020202040302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E9E59D-2559-E487-8044-F126EB48EB19}"/>
              </a:ext>
            </a:extLst>
          </p:cNvPr>
          <p:cNvSpPr txBox="1"/>
          <p:nvPr/>
        </p:nvSpPr>
        <p:spPr>
          <a:xfrm>
            <a:off x="8776584" y="1551597"/>
            <a:ext cx="49984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75%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5150A8A-E90A-5071-C1D6-63910175EC61}"/>
              </a:ext>
            </a:extLst>
          </p:cNvPr>
          <p:cNvGrpSpPr/>
          <p:nvPr/>
        </p:nvGrpSpPr>
        <p:grpSpPr>
          <a:xfrm>
            <a:off x="8860756" y="4599633"/>
            <a:ext cx="330190" cy="70279"/>
            <a:chOff x="7686950" y="1440238"/>
            <a:chExt cx="479262" cy="102008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1A14CD84-878F-5165-1107-691E2987D061}"/>
                </a:ext>
              </a:extLst>
            </p:cNvPr>
            <p:cNvSpPr/>
            <p:nvPr/>
          </p:nvSpPr>
          <p:spPr>
            <a:xfrm>
              <a:off x="7686950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32E39510-3293-5EA4-CAD8-A66F86E6E9CB}"/>
                </a:ext>
              </a:extLst>
            </p:cNvPr>
            <p:cNvSpPr/>
            <p:nvPr/>
          </p:nvSpPr>
          <p:spPr>
            <a:xfrm>
              <a:off x="7875577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8CF9A3E7-66E3-0D39-BAC2-C4A0C4464153}"/>
                </a:ext>
              </a:extLst>
            </p:cNvPr>
            <p:cNvSpPr/>
            <p:nvPr/>
          </p:nvSpPr>
          <p:spPr>
            <a:xfrm>
              <a:off x="8064204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A4F8FD4-4AFC-576B-B286-752B095481AF}"/>
              </a:ext>
            </a:extLst>
          </p:cNvPr>
          <p:cNvGrpSpPr/>
          <p:nvPr/>
        </p:nvGrpSpPr>
        <p:grpSpPr>
          <a:xfrm>
            <a:off x="2938849" y="2657441"/>
            <a:ext cx="5965113" cy="996197"/>
            <a:chOff x="2938849" y="2795049"/>
            <a:chExt cx="5965113" cy="996197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CA005AF6-1AD8-8B69-CB57-B2F74ECC3BA2}"/>
                </a:ext>
              </a:extLst>
            </p:cNvPr>
            <p:cNvSpPr/>
            <p:nvPr/>
          </p:nvSpPr>
          <p:spPr>
            <a:xfrm>
              <a:off x="3156240" y="3535993"/>
              <a:ext cx="227867" cy="227549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468000" rtlCol="0" anchor="ctr"/>
            <a:lstStyle/>
            <a:p>
              <a:pPr algn="ctr"/>
              <a:endParaRPr lang="de-DE" sz="1400">
                <a:latin typeface="Lato" panose="020F0502020204030203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E3DF8ED-CAF9-C972-CAC0-CA7B6C0FAA3F}"/>
                </a:ext>
              </a:extLst>
            </p:cNvPr>
            <p:cNvSpPr/>
            <p:nvPr/>
          </p:nvSpPr>
          <p:spPr>
            <a:xfrm>
              <a:off x="4039984" y="3535993"/>
              <a:ext cx="227867" cy="227549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468000" rtlCol="0" anchor="ctr"/>
            <a:lstStyle/>
            <a:p>
              <a:pPr algn="ctr"/>
              <a:endParaRPr lang="de-DE" sz="1400">
                <a:latin typeface="Lato" panose="020F0502020204030203" pitchFamily="34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B5A0279-BC9C-BE90-5FC5-23FD6E6EB02C}"/>
                </a:ext>
              </a:extLst>
            </p:cNvPr>
            <p:cNvSpPr/>
            <p:nvPr/>
          </p:nvSpPr>
          <p:spPr>
            <a:xfrm>
              <a:off x="2938849" y="2795049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Sun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4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1603003-F031-D587-7482-9021E341B8CB}"/>
                </a:ext>
              </a:extLst>
            </p:cNvPr>
            <p:cNvSpPr/>
            <p:nvPr/>
          </p:nvSpPr>
          <p:spPr>
            <a:xfrm>
              <a:off x="3822593" y="2795049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Mon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5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A7F1CC5-04AC-396A-1000-0BD9E68DCD47}"/>
                </a:ext>
              </a:extLst>
            </p:cNvPr>
            <p:cNvSpPr/>
            <p:nvPr/>
          </p:nvSpPr>
          <p:spPr>
            <a:xfrm>
              <a:off x="4706340" y="2795052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Tue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6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F15D188-3CCE-805E-8C6A-05CBEA19B71D}"/>
                </a:ext>
              </a:extLst>
            </p:cNvPr>
            <p:cNvSpPr/>
            <p:nvPr/>
          </p:nvSpPr>
          <p:spPr>
            <a:xfrm>
              <a:off x="5590083" y="2795049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Wed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7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8B88109-11D1-116C-6DF6-3B69DA12C1B7}"/>
                </a:ext>
              </a:extLst>
            </p:cNvPr>
            <p:cNvSpPr/>
            <p:nvPr/>
          </p:nvSpPr>
          <p:spPr>
            <a:xfrm>
              <a:off x="6473827" y="2795049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Thu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8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FFB6FF1A-80ED-4732-A238-F0822D3BD151}"/>
                </a:ext>
              </a:extLst>
            </p:cNvPr>
            <p:cNvSpPr/>
            <p:nvPr/>
          </p:nvSpPr>
          <p:spPr>
            <a:xfrm>
              <a:off x="7357571" y="2795052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Fri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9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AAA0F7B-12EE-7B12-3075-06EFE5EC3749}"/>
                </a:ext>
              </a:extLst>
            </p:cNvPr>
            <p:cNvSpPr/>
            <p:nvPr/>
          </p:nvSpPr>
          <p:spPr>
            <a:xfrm>
              <a:off x="8241314" y="2795052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Sat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10</a:t>
              </a:r>
            </a:p>
          </p:txBody>
        </p:sp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FDC12DF9-70F0-B47F-C8CF-7440B19575A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854011" y="3508294"/>
              <a:ext cx="367306" cy="282949"/>
            </a:xfrm>
            <a:prstGeom prst="rect">
              <a:avLst/>
            </a:prstGeom>
          </p:spPr>
        </p:pic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A304FD37-2A8C-95E5-3A98-2E94419261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737755" y="3508297"/>
              <a:ext cx="367306" cy="282949"/>
            </a:xfrm>
            <a:prstGeom prst="rect">
              <a:avLst/>
            </a:prstGeom>
          </p:spPr>
        </p:pic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id="{918C2BC8-CC59-37DA-ABE7-0B82F38EC23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505241" y="3508297"/>
              <a:ext cx="367306" cy="282949"/>
            </a:xfrm>
            <a:prstGeom prst="rect">
              <a:avLst/>
            </a:prstGeom>
          </p:spPr>
        </p:pic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483AB0C0-AD5C-B341-3ACB-73A9D47A09A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388986" y="3508297"/>
              <a:ext cx="367306" cy="282949"/>
            </a:xfrm>
            <a:prstGeom prst="rect">
              <a:avLst/>
            </a:prstGeom>
          </p:spPr>
        </p:pic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82D0C730-5A86-C375-F7EC-7D80D0ED8BF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621498" y="3508297"/>
              <a:ext cx="367306" cy="2829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011088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1DE1B5-7667-25B8-8A5C-962B5641CD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6432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phic 7">
            <a:extLst>
              <a:ext uri="{FF2B5EF4-FFF2-40B4-BE49-F238E27FC236}">
                <a16:creationId xmlns:a16="http://schemas.microsoft.com/office/drawing/2014/main" id="{9C9EEFAC-7434-3CE9-75CD-6AF26A1FF3F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4953" b="4975"/>
          <a:stretch/>
        </p:blipFill>
        <p:spPr>
          <a:xfrm flipH="1">
            <a:off x="2254927" y="1154098"/>
            <a:ext cx="7332955" cy="3852000"/>
          </a:xfrm>
          <a:prstGeom prst="roundRect">
            <a:avLst>
              <a:gd name="adj" fmla="val 11215"/>
            </a:avLst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F5FA8D67-6C3F-6C41-9796-8771EF97EAD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b="9928"/>
          <a:stretch/>
        </p:blipFill>
        <p:spPr>
          <a:xfrm flipH="1">
            <a:off x="2254927" y="1154099"/>
            <a:ext cx="7332955" cy="3852000"/>
          </a:xfrm>
          <a:prstGeom prst="roundRect">
            <a:avLst>
              <a:gd name="adj" fmla="val 11215"/>
            </a:avLst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33B6AB61-7928-446D-8C1D-F6E894E0416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-4490326" y="7100154"/>
            <a:ext cx="6604938" cy="3852000"/>
          </a:xfrm>
          <a:prstGeom prst="round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0CE8F63-8D69-08AA-6329-EA3C109525B9}"/>
              </a:ext>
            </a:extLst>
          </p:cNvPr>
          <p:cNvSpPr txBox="1"/>
          <p:nvPr/>
        </p:nvSpPr>
        <p:spPr>
          <a:xfrm>
            <a:off x="2586798" y="1505431"/>
            <a:ext cx="4744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>
                <a:solidFill>
                  <a:schemeClr val="bg1"/>
                </a:solidFill>
                <a:latin typeface="Lato" panose="020F0502020204030203" pitchFamily="34" charset="0"/>
              </a:rPr>
              <a:t>Going to bed early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45DA731-265E-785A-C22B-25DF6D37B053}"/>
              </a:ext>
            </a:extLst>
          </p:cNvPr>
          <p:cNvGrpSpPr/>
          <p:nvPr/>
        </p:nvGrpSpPr>
        <p:grpSpPr>
          <a:xfrm>
            <a:off x="8860756" y="4599633"/>
            <a:ext cx="330190" cy="70279"/>
            <a:chOff x="7686950" y="1440238"/>
            <a:chExt cx="479262" cy="102008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23D7299-5168-512A-9B56-800FE7DAAE55}"/>
                </a:ext>
              </a:extLst>
            </p:cNvPr>
            <p:cNvSpPr/>
            <p:nvPr/>
          </p:nvSpPr>
          <p:spPr>
            <a:xfrm>
              <a:off x="7686950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B8F60CD3-8EFC-B24A-315D-F0F6EB6D20AD}"/>
                </a:ext>
              </a:extLst>
            </p:cNvPr>
            <p:cNvSpPr/>
            <p:nvPr/>
          </p:nvSpPr>
          <p:spPr>
            <a:xfrm>
              <a:off x="7875577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A32AEDAE-DBA3-8A52-9EB9-0B0F72AF64CF}"/>
                </a:ext>
              </a:extLst>
            </p:cNvPr>
            <p:cNvSpPr/>
            <p:nvPr/>
          </p:nvSpPr>
          <p:spPr>
            <a:xfrm>
              <a:off x="8064204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4664EA1-568F-6F11-13B5-A8AE670BAE72}"/>
              </a:ext>
            </a:extLst>
          </p:cNvPr>
          <p:cNvGrpSpPr/>
          <p:nvPr/>
        </p:nvGrpSpPr>
        <p:grpSpPr>
          <a:xfrm>
            <a:off x="2938849" y="2657441"/>
            <a:ext cx="5965113" cy="996197"/>
            <a:chOff x="2938849" y="2795049"/>
            <a:chExt cx="5965113" cy="996197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EA1C00F1-55EA-104F-CF31-B784E4E9D4FE}"/>
                </a:ext>
              </a:extLst>
            </p:cNvPr>
            <p:cNvSpPr/>
            <p:nvPr/>
          </p:nvSpPr>
          <p:spPr>
            <a:xfrm>
              <a:off x="3156240" y="3535993"/>
              <a:ext cx="227867" cy="227549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468000" rtlCol="0" anchor="ctr"/>
            <a:lstStyle/>
            <a:p>
              <a:pPr algn="ctr"/>
              <a:endParaRPr lang="de-DE" sz="1400">
                <a:latin typeface="Lato" panose="020F0502020204030203" pitchFamily="34" charset="0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2FE3BA6-1EDF-6F71-40B2-10E89B5ADCAD}"/>
                </a:ext>
              </a:extLst>
            </p:cNvPr>
            <p:cNvSpPr/>
            <p:nvPr/>
          </p:nvSpPr>
          <p:spPr>
            <a:xfrm>
              <a:off x="4039984" y="3535993"/>
              <a:ext cx="227867" cy="227549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468000" rtlCol="0" anchor="ctr"/>
            <a:lstStyle/>
            <a:p>
              <a:pPr algn="ctr"/>
              <a:endParaRPr lang="de-DE" sz="1400">
                <a:latin typeface="Lato" panose="020F0502020204030203" pitchFamily="34" charset="0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ADDA636-7675-DB14-D986-BF0FBD2D8AE7}"/>
                </a:ext>
              </a:extLst>
            </p:cNvPr>
            <p:cNvSpPr/>
            <p:nvPr/>
          </p:nvSpPr>
          <p:spPr>
            <a:xfrm>
              <a:off x="2938849" y="2795049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Sun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4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6ED7C594-F0A3-A455-9F5B-F855015B78A7}"/>
                </a:ext>
              </a:extLst>
            </p:cNvPr>
            <p:cNvSpPr/>
            <p:nvPr/>
          </p:nvSpPr>
          <p:spPr>
            <a:xfrm>
              <a:off x="3822593" y="2795049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Mon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5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214F8C5-E51A-DFF8-7DC6-66596D410E5B}"/>
                </a:ext>
              </a:extLst>
            </p:cNvPr>
            <p:cNvSpPr/>
            <p:nvPr/>
          </p:nvSpPr>
          <p:spPr>
            <a:xfrm>
              <a:off x="4706340" y="2795052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Tue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6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D0DFC197-BC43-D4BE-1D10-B8EF3407415F}"/>
                </a:ext>
              </a:extLst>
            </p:cNvPr>
            <p:cNvSpPr/>
            <p:nvPr/>
          </p:nvSpPr>
          <p:spPr>
            <a:xfrm>
              <a:off x="5590083" y="2795049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Wed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7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DFD25D42-A774-FF6B-DB94-8B57FCE646B6}"/>
                </a:ext>
              </a:extLst>
            </p:cNvPr>
            <p:cNvSpPr/>
            <p:nvPr/>
          </p:nvSpPr>
          <p:spPr>
            <a:xfrm>
              <a:off x="6473827" y="2795049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Thu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8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E0FA752-7A8F-2750-290B-F6E38FBC90E5}"/>
                </a:ext>
              </a:extLst>
            </p:cNvPr>
            <p:cNvSpPr/>
            <p:nvPr/>
          </p:nvSpPr>
          <p:spPr>
            <a:xfrm>
              <a:off x="7357571" y="2795052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Fri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9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64B9C71-848C-6B6C-0A65-852CC5644526}"/>
                </a:ext>
              </a:extLst>
            </p:cNvPr>
            <p:cNvSpPr/>
            <p:nvPr/>
          </p:nvSpPr>
          <p:spPr>
            <a:xfrm>
              <a:off x="8241314" y="2795052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Sat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10</a:t>
              </a:r>
            </a:p>
          </p:txBody>
        </p:sp>
        <p:pic>
          <p:nvPicPr>
            <p:cNvPr id="47" name="Graphic 46">
              <a:extLst>
                <a:ext uri="{FF2B5EF4-FFF2-40B4-BE49-F238E27FC236}">
                  <a16:creationId xmlns:a16="http://schemas.microsoft.com/office/drawing/2014/main" id="{6C7FACF8-F0F4-7D3E-8B0C-B98A07DB3B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854011" y="3508294"/>
              <a:ext cx="367306" cy="282949"/>
            </a:xfrm>
            <a:prstGeom prst="rect">
              <a:avLst/>
            </a:prstGeom>
          </p:spPr>
        </p:pic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id="{21F0B41B-9E1C-FBD1-78F4-9F926BF08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737755" y="3508297"/>
              <a:ext cx="367306" cy="282949"/>
            </a:xfrm>
            <a:prstGeom prst="rect">
              <a:avLst/>
            </a:prstGeom>
          </p:spPr>
        </p:pic>
        <p:pic>
          <p:nvPicPr>
            <p:cNvPr id="49" name="Graphic 48">
              <a:extLst>
                <a:ext uri="{FF2B5EF4-FFF2-40B4-BE49-F238E27FC236}">
                  <a16:creationId xmlns:a16="http://schemas.microsoft.com/office/drawing/2014/main" id="{65B4B400-A49D-6E81-5261-C9CE2DFA23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505241" y="3508297"/>
              <a:ext cx="367306" cy="282949"/>
            </a:xfrm>
            <a:prstGeom prst="rect">
              <a:avLst/>
            </a:prstGeom>
          </p:spPr>
        </p:pic>
        <p:pic>
          <p:nvPicPr>
            <p:cNvPr id="50" name="Graphic 49">
              <a:extLst>
                <a:ext uri="{FF2B5EF4-FFF2-40B4-BE49-F238E27FC236}">
                  <a16:creationId xmlns:a16="http://schemas.microsoft.com/office/drawing/2014/main" id="{5CA1606C-34A3-76CF-C3A6-A6DA90C6F4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388986" y="3508297"/>
              <a:ext cx="367306" cy="282949"/>
            </a:xfrm>
            <a:prstGeom prst="rect">
              <a:avLst/>
            </a:prstGeom>
          </p:spPr>
        </p:pic>
        <p:pic>
          <p:nvPicPr>
            <p:cNvPr id="51" name="Graphic 50">
              <a:extLst>
                <a:ext uri="{FF2B5EF4-FFF2-40B4-BE49-F238E27FC236}">
                  <a16:creationId xmlns:a16="http://schemas.microsoft.com/office/drawing/2014/main" id="{2FBA99AC-A696-B7A8-9868-3D204C0BF76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621498" y="3508297"/>
              <a:ext cx="367306" cy="282949"/>
            </a:xfrm>
            <a:prstGeom prst="rect">
              <a:avLst/>
            </a:prstGeom>
          </p:spPr>
        </p:pic>
      </p:grpSp>
      <p:pic>
        <p:nvPicPr>
          <p:cNvPr id="53" name="Graphic 52">
            <a:extLst>
              <a:ext uri="{FF2B5EF4-FFF2-40B4-BE49-F238E27FC236}">
                <a16:creationId xmlns:a16="http://schemas.microsoft.com/office/drawing/2014/main" id="{A4C38005-8371-9CF2-1468-E16465F8297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813434" y="1486784"/>
            <a:ext cx="424834" cy="406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5577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FF72E1-0827-8C53-8C4A-BCB8D7E116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FF72E1-0827-8C53-8C4A-BCB8D7E116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262A5D0-8BA3-AC13-B213-094C44BFA1E9}"/>
              </a:ext>
            </a:extLst>
          </p:cNvPr>
          <p:cNvSpPr/>
          <p:nvPr/>
        </p:nvSpPr>
        <p:spPr>
          <a:xfrm>
            <a:off x="2254927" y="1154098"/>
            <a:ext cx="7332956" cy="3852908"/>
          </a:xfrm>
          <a:prstGeom prst="roundRect">
            <a:avLst>
              <a:gd name="adj" fmla="val 11212"/>
            </a:avLst>
          </a:prstGeom>
          <a:solidFill>
            <a:srgbClr val="0D11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tlCol="0" anchor="t"/>
          <a:lstStyle/>
          <a:p>
            <a:endParaRPr lang="de-DE" dirty="0">
              <a:latin typeface="Lato" panose="020F050202020403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4ADDA64-D3C1-52F2-D387-373C7E4BBA75}"/>
              </a:ext>
            </a:extLst>
          </p:cNvPr>
          <p:cNvSpPr txBox="1"/>
          <p:nvPr/>
        </p:nvSpPr>
        <p:spPr>
          <a:xfrm>
            <a:off x="2586798" y="1505431"/>
            <a:ext cx="4744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Lato" panose="020F0502020204030203" pitchFamily="34" charset="0"/>
              </a:rPr>
              <a:t>Going to bed early</a:t>
            </a:r>
          </a:p>
        </p:txBody>
      </p:sp>
      <p:sp>
        <p:nvSpPr>
          <p:cNvPr id="2" name="Arc 1">
            <a:extLst>
              <a:ext uri="{FF2B5EF4-FFF2-40B4-BE49-F238E27FC236}">
                <a16:creationId xmlns:a16="http://schemas.microsoft.com/office/drawing/2014/main" id="{C58C678B-C7B7-7BCF-3307-7A47402FE7ED}"/>
              </a:ext>
            </a:extLst>
          </p:cNvPr>
          <p:cNvSpPr/>
          <p:nvPr/>
        </p:nvSpPr>
        <p:spPr>
          <a:xfrm>
            <a:off x="8733058" y="1397304"/>
            <a:ext cx="585586" cy="585586"/>
          </a:xfrm>
          <a:prstGeom prst="arc">
            <a:avLst>
              <a:gd name="adj1" fmla="val 11104360"/>
              <a:gd name="adj2" fmla="val 5226579"/>
            </a:avLst>
          </a:prstGeom>
          <a:noFill/>
          <a:ln w="66675" cap="rnd">
            <a:solidFill>
              <a:srgbClr val="2626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>
              <a:latin typeface="Lato" panose="020F05020202040302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E9E59D-2559-E487-8044-F126EB48EB19}"/>
              </a:ext>
            </a:extLst>
          </p:cNvPr>
          <p:cNvSpPr txBox="1"/>
          <p:nvPr/>
        </p:nvSpPr>
        <p:spPr>
          <a:xfrm>
            <a:off x="8776584" y="1551597"/>
            <a:ext cx="49984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75%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5150A8A-E90A-5071-C1D6-63910175EC61}"/>
              </a:ext>
            </a:extLst>
          </p:cNvPr>
          <p:cNvGrpSpPr/>
          <p:nvPr/>
        </p:nvGrpSpPr>
        <p:grpSpPr>
          <a:xfrm>
            <a:off x="8860756" y="4599633"/>
            <a:ext cx="330190" cy="70279"/>
            <a:chOff x="7686950" y="1440238"/>
            <a:chExt cx="479262" cy="102008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1A14CD84-878F-5165-1107-691E2987D061}"/>
                </a:ext>
              </a:extLst>
            </p:cNvPr>
            <p:cNvSpPr/>
            <p:nvPr/>
          </p:nvSpPr>
          <p:spPr>
            <a:xfrm>
              <a:off x="7686950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32E39510-3293-5EA4-CAD8-A66F86E6E9CB}"/>
                </a:ext>
              </a:extLst>
            </p:cNvPr>
            <p:cNvSpPr/>
            <p:nvPr/>
          </p:nvSpPr>
          <p:spPr>
            <a:xfrm>
              <a:off x="7875577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8CF9A3E7-66E3-0D39-BAC2-C4A0C4464153}"/>
                </a:ext>
              </a:extLst>
            </p:cNvPr>
            <p:cNvSpPr/>
            <p:nvPr/>
          </p:nvSpPr>
          <p:spPr>
            <a:xfrm>
              <a:off x="8064204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A4F8FD4-4AFC-576B-B286-752B095481AF}"/>
              </a:ext>
            </a:extLst>
          </p:cNvPr>
          <p:cNvGrpSpPr/>
          <p:nvPr/>
        </p:nvGrpSpPr>
        <p:grpSpPr>
          <a:xfrm>
            <a:off x="2938849" y="2657441"/>
            <a:ext cx="5965113" cy="996197"/>
            <a:chOff x="2938849" y="2795049"/>
            <a:chExt cx="5965113" cy="996197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CA005AF6-1AD8-8B69-CB57-B2F74ECC3BA2}"/>
                </a:ext>
              </a:extLst>
            </p:cNvPr>
            <p:cNvSpPr/>
            <p:nvPr/>
          </p:nvSpPr>
          <p:spPr>
            <a:xfrm>
              <a:off x="3156240" y="3535993"/>
              <a:ext cx="227867" cy="227549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468000" rtlCol="0" anchor="ctr"/>
            <a:lstStyle/>
            <a:p>
              <a:pPr algn="ctr"/>
              <a:endParaRPr lang="de-DE" sz="1400">
                <a:latin typeface="Lato" panose="020F0502020204030203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E3DF8ED-CAF9-C972-CAC0-CA7B6C0FAA3F}"/>
                </a:ext>
              </a:extLst>
            </p:cNvPr>
            <p:cNvSpPr/>
            <p:nvPr/>
          </p:nvSpPr>
          <p:spPr>
            <a:xfrm>
              <a:off x="4039984" y="3535993"/>
              <a:ext cx="227867" cy="227549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468000" rtlCol="0" anchor="ctr"/>
            <a:lstStyle/>
            <a:p>
              <a:pPr algn="ctr"/>
              <a:endParaRPr lang="de-DE" sz="1400">
                <a:latin typeface="Lato" panose="020F0502020204030203" pitchFamily="34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B5A0279-BC9C-BE90-5FC5-23FD6E6EB02C}"/>
                </a:ext>
              </a:extLst>
            </p:cNvPr>
            <p:cNvSpPr/>
            <p:nvPr/>
          </p:nvSpPr>
          <p:spPr>
            <a:xfrm>
              <a:off x="2938849" y="2795049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Sun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4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1603003-F031-D587-7482-9021E341B8CB}"/>
                </a:ext>
              </a:extLst>
            </p:cNvPr>
            <p:cNvSpPr/>
            <p:nvPr/>
          </p:nvSpPr>
          <p:spPr>
            <a:xfrm>
              <a:off x="3822593" y="2795049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Mon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5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A7F1CC5-04AC-396A-1000-0BD9E68DCD47}"/>
                </a:ext>
              </a:extLst>
            </p:cNvPr>
            <p:cNvSpPr/>
            <p:nvPr/>
          </p:nvSpPr>
          <p:spPr>
            <a:xfrm>
              <a:off x="4706340" y="2795052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Tue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6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F15D188-3CCE-805E-8C6A-05CBEA19B71D}"/>
                </a:ext>
              </a:extLst>
            </p:cNvPr>
            <p:cNvSpPr/>
            <p:nvPr/>
          </p:nvSpPr>
          <p:spPr>
            <a:xfrm>
              <a:off x="5590083" y="2795049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Wed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7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8B88109-11D1-116C-6DF6-3B69DA12C1B7}"/>
                </a:ext>
              </a:extLst>
            </p:cNvPr>
            <p:cNvSpPr/>
            <p:nvPr/>
          </p:nvSpPr>
          <p:spPr>
            <a:xfrm>
              <a:off x="6473827" y="2795049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Thu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8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FFB6FF1A-80ED-4732-A238-F0822D3BD151}"/>
                </a:ext>
              </a:extLst>
            </p:cNvPr>
            <p:cNvSpPr/>
            <p:nvPr/>
          </p:nvSpPr>
          <p:spPr>
            <a:xfrm>
              <a:off x="7357571" y="2795052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Fri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9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AAA0F7B-12EE-7B12-3075-06EFE5EC3749}"/>
                </a:ext>
              </a:extLst>
            </p:cNvPr>
            <p:cNvSpPr/>
            <p:nvPr/>
          </p:nvSpPr>
          <p:spPr>
            <a:xfrm>
              <a:off x="8241314" y="2795052"/>
              <a:ext cx="662648" cy="4095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Sat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10</a:t>
              </a:r>
            </a:p>
          </p:txBody>
        </p:sp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FDC12DF9-70F0-B47F-C8CF-7440B19575A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854011" y="3508294"/>
              <a:ext cx="367306" cy="282949"/>
            </a:xfrm>
            <a:prstGeom prst="rect">
              <a:avLst/>
            </a:prstGeom>
          </p:spPr>
        </p:pic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A304FD37-2A8C-95E5-3A98-2E94419261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737755" y="3508297"/>
              <a:ext cx="367306" cy="282949"/>
            </a:xfrm>
            <a:prstGeom prst="rect">
              <a:avLst/>
            </a:prstGeom>
          </p:spPr>
        </p:pic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id="{918C2BC8-CC59-37DA-ABE7-0B82F38EC23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505241" y="3508297"/>
              <a:ext cx="367306" cy="282949"/>
            </a:xfrm>
            <a:prstGeom prst="rect">
              <a:avLst/>
            </a:prstGeom>
          </p:spPr>
        </p:pic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483AB0C0-AD5C-B341-3ACB-73A9D47A09A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388986" y="3508297"/>
              <a:ext cx="367306" cy="282949"/>
            </a:xfrm>
            <a:prstGeom prst="rect">
              <a:avLst/>
            </a:prstGeom>
          </p:spPr>
        </p:pic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82D0C730-5A86-C375-F7EC-7D80D0ED8BF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621498" y="3508297"/>
              <a:ext cx="367306" cy="2829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07445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1DE1B5-7667-25B8-8A5C-962B5641CD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3187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1DE1B5-7667-25B8-8A5C-962B5641C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phic 6">
            <a:extLst>
              <a:ext uri="{FF2B5EF4-FFF2-40B4-BE49-F238E27FC236}">
                <a16:creationId xmlns:a16="http://schemas.microsoft.com/office/drawing/2014/main" id="{4A4CDAC1-1915-254A-21E8-848FEA5046D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9928"/>
          <a:stretch/>
        </p:blipFill>
        <p:spPr>
          <a:xfrm flipH="1" flipV="1">
            <a:off x="2254927" y="1154098"/>
            <a:ext cx="7332955" cy="3852002"/>
          </a:xfrm>
          <a:prstGeom prst="roundRect">
            <a:avLst>
              <a:gd name="adj" fmla="val 11215"/>
            </a:avLst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5B5FE00B-F666-DBAC-AE8C-102B02D4E00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t="9928"/>
          <a:stretch/>
        </p:blipFill>
        <p:spPr>
          <a:xfrm flipH="1" flipV="1">
            <a:off x="2254927" y="1154098"/>
            <a:ext cx="7332955" cy="3852002"/>
          </a:xfrm>
          <a:prstGeom prst="roundRect">
            <a:avLst>
              <a:gd name="adj" fmla="val 11215"/>
            </a:avLst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0CE8F63-8D69-08AA-6329-EA3C109525B9}"/>
              </a:ext>
            </a:extLst>
          </p:cNvPr>
          <p:cNvSpPr txBox="1"/>
          <p:nvPr/>
        </p:nvSpPr>
        <p:spPr>
          <a:xfrm>
            <a:off x="2586798" y="1505431"/>
            <a:ext cx="4744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>
                <a:solidFill>
                  <a:srgbClr val="FFD700"/>
                </a:solidFill>
                <a:latin typeface="Lato" panose="020F0502020204030203" pitchFamily="34" charset="0"/>
              </a:rPr>
              <a:t>Going to bed early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45DA731-265E-785A-C22B-25DF6D37B053}"/>
              </a:ext>
            </a:extLst>
          </p:cNvPr>
          <p:cNvGrpSpPr/>
          <p:nvPr/>
        </p:nvGrpSpPr>
        <p:grpSpPr>
          <a:xfrm>
            <a:off x="8860756" y="4599633"/>
            <a:ext cx="330190" cy="70279"/>
            <a:chOff x="7686950" y="1440238"/>
            <a:chExt cx="479262" cy="102008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23D7299-5168-512A-9B56-800FE7DAAE55}"/>
                </a:ext>
              </a:extLst>
            </p:cNvPr>
            <p:cNvSpPr/>
            <p:nvPr/>
          </p:nvSpPr>
          <p:spPr>
            <a:xfrm>
              <a:off x="7686950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B8F60CD3-8EFC-B24A-315D-F0F6EB6D20AD}"/>
                </a:ext>
              </a:extLst>
            </p:cNvPr>
            <p:cNvSpPr/>
            <p:nvPr/>
          </p:nvSpPr>
          <p:spPr>
            <a:xfrm>
              <a:off x="7875577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A32AEDAE-DBA3-8A52-9EB9-0B0F72AF64CF}"/>
                </a:ext>
              </a:extLst>
            </p:cNvPr>
            <p:cNvSpPr/>
            <p:nvPr/>
          </p:nvSpPr>
          <p:spPr>
            <a:xfrm>
              <a:off x="8064204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8" name="Oval 37">
            <a:extLst>
              <a:ext uri="{FF2B5EF4-FFF2-40B4-BE49-F238E27FC236}">
                <a16:creationId xmlns:a16="http://schemas.microsoft.com/office/drawing/2014/main" id="{EA1C00F1-55EA-104F-CF31-B784E4E9D4FE}"/>
              </a:ext>
            </a:extLst>
          </p:cNvPr>
          <p:cNvSpPr/>
          <p:nvPr/>
        </p:nvSpPr>
        <p:spPr>
          <a:xfrm>
            <a:off x="3156240" y="3398385"/>
            <a:ext cx="227867" cy="227549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endParaRPr lang="de-DE" sz="1400">
              <a:latin typeface="Lato" panose="020F0502020204030203" pitchFamily="34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E2FE3BA6-1EDF-6F71-40B2-10E89B5ADCAD}"/>
              </a:ext>
            </a:extLst>
          </p:cNvPr>
          <p:cNvSpPr/>
          <p:nvPr/>
        </p:nvSpPr>
        <p:spPr>
          <a:xfrm>
            <a:off x="4039984" y="3398385"/>
            <a:ext cx="227867" cy="227549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endParaRPr lang="de-DE" sz="1400">
              <a:latin typeface="Lato" panose="020F0502020204030203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ADDA636-7675-DB14-D986-BF0FBD2D8AE7}"/>
              </a:ext>
            </a:extLst>
          </p:cNvPr>
          <p:cNvSpPr/>
          <p:nvPr/>
        </p:nvSpPr>
        <p:spPr>
          <a:xfrm>
            <a:off x="2938849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Sun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4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ED7C594-F0A3-A455-9F5B-F855015B78A7}"/>
              </a:ext>
            </a:extLst>
          </p:cNvPr>
          <p:cNvSpPr/>
          <p:nvPr/>
        </p:nvSpPr>
        <p:spPr>
          <a:xfrm>
            <a:off x="3822593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Mon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5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214F8C5-E51A-DFF8-7DC6-66596D410E5B}"/>
              </a:ext>
            </a:extLst>
          </p:cNvPr>
          <p:cNvSpPr/>
          <p:nvPr/>
        </p:nvSpPr>
        <p:spPr>
          <a:xfrm>
            <a:off x="4706340" y="2657444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Tue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6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0DFC197-BC43-D4BE-1D10-B8EF3407415F}"/>
              </a:ext>
            </a:extLst>
          </p:cNvPr>
          <p:cNvSpPr/>
          <p:nvPr/>
        </p:nvSpPr>
        <p:spPr>
          <a:xfrm>
            <a:off x="5590083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Wed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7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FD25D42-A774-FF6B-DB94-8B57FCE646B6}"/>
              </a:ext>
            </a:extLst>
          </p:cNvPr>
          <p:cNvSpPr/>
          <p:nvPr/>
        </p:nvSpPr>
        <p:spPr>
          <a:xfrm>
            <a:off x="6473827" y="2657441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Thu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8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E0FA752-7A8F-2750-290B-F6E38FBC90E5}"/>
              </a:ext>
            </a:extLst>
          </p:cNvPr>
          <p:cNvSpPr/>
          <p:nvPr/>
        </p:nvSpPr>
        <p:spPr>
          <a:xfrm>
            <a:off x="7357571" y="2657444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Fri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9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64B9C71-848C-6B6C-0A65-852CC5644526}"/>
              </a:ext>
            </a:extLst>
          </p:cNvPr>
          <p:cNvSpPr/>
          <p:nvPr/>
        </p:nvSpPr>
        <p:spPr>
          <a:xfrm>
            <a:off x="8241314" y="2657444"/>
            <a:ext cx="662648" cy="4095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Sat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10</a:t>
            </a:r>
          </a:p>
        </p:txBody>
      </p:sp>
      <p:pic>
        <p:nvPicPr>
          <p:cNvPr id="47" name="Graphic 46">
            <a:extLst>
              <a:ext uri="{FF2B5EF4-FFF2-40B4-BE49-F238E27FC236}">
                <a16:creationId xmlns:a16="http://schemas.microsoft.com/office/drawing/2014/main" id="{6C7FACF8-F0F4-7D3E-8B0C-B98A07DB3B3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54011" y="3370686"/>
            <a:ext cx="367306" cy="282949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21F0B41B-9E1C-FBD1-78F4-9F926BF0800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737755" y="3370689"/>
            <a:ext cx="367306" cy="282949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65B4B400-A49D-6E81-5261-C9CE2DFA235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505241" y="3370689"/>
            <a:ext cx="367306" cy="282949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5CA1606C-34A3-76CF-C3A6-A6DA90C6F44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388986" y="3370689"/>
            <a:ext cx="367306" cy="282949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2FBA99AC-A696-B7A8-9868-3D204C0BF76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621498" y="3370689"/>
            <a:ext cx="367306" cy="282949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20AD7104-1F39-7FF6-A8CE-140F65FB1ED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694527" y="1384018"/>
            <a:ext cx="662648" cy="612160"/>
          </a:xfrm>
          <a:prstGeom prst="rect">
            <a:avLst/>
          </a:prstGeom>
        </p:spPr>
      </p:pic>
      <p:sp>
        <p:nvSpPr>
          <p:cNvPr id="3" name="Freeform: Shape 2">
            <a:extLst>
              <a:ext uri="{FF2B5EF4-FFF2-40B4-BE49-F238E27FC236}">
                <a16:creationId xmlns:a16="http://schemas.microsoft.com/office/drawing/2014/main" id="{A0F6FA88-2D62-003A-978B-99F2CB48EE29}"/>
              </a:ext>
            </a:extLst>
          </p:cNvPr>
          <p:cNvSpPr/>
          <p:nvPr/>
        </p:nvSpPr>
        <p:spPr>
          <a:xfrm>
            <a:off x="2254927" y="1275146"/>
            <a:ext cx="133166" cy="3637556"/>
          </a:xfrm>
          <a:custGeom>
            <a:avLst/>
            <a:gdLst>
              <a:gd name="connsiteX0" fmla="*/ 133166 w 133166"/>
              <a:gd name="connsiteY0" fmla="*/ 0 h 3610811"/>
              <a:gd name="connsiteX1" fmla="*/ 133166 w 133166"/>
              <a:gd name="connsiteY1" fmla="*/ 3610811 h 3610811"/>
              <a:gd name="connsiteX2" fmla="*/ 126527 w 133166"/>
              <a:gd name="connsiteY2" fmla="*/ 3605333 h 3610811"/>
              <a:gd name="connsiteX3" fmla="*/ 0 w 133166"/>
              <a:gd name="connsiteY3" fmla="*/ 3299871 h 3610811"/>
              <a:gd name="connsiteX4" fmla="*/ 0 w 133166"/>
              <a:gd name="connsiteY4" fmla="*/ 310939 h 3610811"/>
              <a:gd name="connsiteX5" fmla="*/ 126527 w 133166"/>
              <a:gd name="connsiteY5" fmla="*/ 5478 h 3610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3166" h="3610811">
                <a:moveTo>
                  <a:pt x="133166" y="0"/>
                </a:moveTo>
                <a:lnTo>
                  <a:pt x="133166" y="3610811"/>
                </a:lnTo>
                <a:lnTo>
                  <a:pt x="126527" y="3605333"/>
                </a:lnTo>
                <a:cubicBezTo>
                  <a:pt x="48352" y="3527158"/>
                  <a:pt x="0" y="3419161"/>
                  <a:pt x="0" y="3299871"/>
                </a:cubicBezTo>
                <a:lnTo>
                  <a:pt x="0" y="310939"/>
                </a:lnTo>
                <a:cubicBezTo>
                  <a:pt x="0" y="191649"/>
                  <a:pt x="48352" y="83652"/>
                  <a:pt x="126527" y="5478"/>
                </a:cubicBezTo>
                <a:close/>
              </a:path>
            </a:pathLst>
          </a:custGeom>
          <a:solidFill>
            <a:srgbClr val="FF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360000" rtlCol="0" anchor="t">
            <a:noAutofit/>
          </a:bodyPr>
          <a:lstStyle/>
          <a:p>
            <a:endParaRPr lang="de-DE" dirty="0">
              <a:latin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00144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86</TotalTime>
  <Words>284</Words>
  <Application>Microsoft Office PowerPoint</Application>
  <PresentationFormat>Widescreen</PresentationFormat>
  <Paragraphs>225</Paragraphs>
  <Slides>14</Slides>
  <Notes>0</Notes>
  <HiddenSlides>7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</vt:lpstr>
      <vt:lpstr>Calibri Light</vt:lpstr>
      <vt:lpstr>Lato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ecel Acuña</dc:creator>
  <cp:lastModifiedBy>Aecel Acuña</cp:lastModifiedBy>
  <cp:revision>38</cp:revision>
  <dcterms:created xsi:type="dcterms:W3CDTF">2022-12-08T12:20:13Z</dcterms:created>
  <dcterms:modified xsi:type="dcterms:W3CDTF">2022-12-09T15:29:19Z</dcterms:modified>
</cp:coreProperties>
</file>